
<file path=[Content_Types].xml><?xml version="1.0" encoding="utf-8"?>
<Types xmlns="http://schemas.openxmlformats.org/package/2006/content-types">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8" r:id="rId4"/>
  </p:sldMasterIdLst>
  <p:notesMasterIdLst>
    <p:notesMasterId r:id="rId17"/>
  </p:notesMasterIdLst>
  <p:handoutMasterIdLst>
    <p:handoutMasterId r:id="rId18"/>
  </p:handoutMasterIdLst>
  <p:sldIdLst>
    <p:sldId id="257" r:id="rId5"/>
    <p:sldId id="258" r:id="rId6"/>
    <p:sldId id="264" r:id="rId7"/>
    <p:sldId id="261" r:id="rId8"/>
    <p:sldId id="277" r:id="rId9"/>
    <p:sldId id="269" r:id="rId10"/>
    <p:sldId id="284" r:id="rId11"/>
    <p:sldId id="285" r:id="rId12"/>
    <p:sldId id="286" r:id="rId13"/>
    <p:sldId id="287" r:id="rId14"/>
    <p:sldId id="282" r:id="rId15"/>
    <p:sldId id="279" r:id="rId16"/>
  </p:sldIdLst>
  <p:sldSz cx="12192000" cy="6858000"/>
  <p:notesSz cx="6858000" cy="9144000"/>
  <p:custDataLst>
    <p:tags r:id="rId1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4F56"/>
    <a:srgbClr val="272626"/>
    <a:srgbClr val="AEB4BA"/>
    <a:srgbClr val="21FF06"/>
    <a:srgbClr val="E80029"/>
    <a:srgbClr val="FCB300"/>
    <a:srgbClr val="EEEEEE"/>
    <a:srgbClr val="F7F7F7"/>
    <a:srgbClr val="F4F4F4"/>
    <a:srgbClr val="FAFAF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394" autoAdjust="0"/>
    <p:restoredTop sz="94082" autoAdjust="0"/>
  </p:normalViewPr>
  <p:slideViewPr>
    <p:cSldViewPr snapToGrid="0">
      <p:cViewPr varScale="1">
        <p:scale>
          <a:sx n="107" d="100"/>
          <a:sy n="107" d="100"/>
        </p:scale>
        <p:origin x="848" y="160"/>
      </p:cViewPr>
      <p:guideLst>
        <p:guide orient="horz" pos="2160"/>
        <p:guide pos="3840"/>
      </p:guideLst>
    </p:cSldViewPr>
  </p:slideViewPr>
  <p:outlineViewPr>
    <p:cViewPr>
      <p:scale>
        <a:sx n="33" d="100"/>
        <a:sy n="33" d="100"/>
      </p:scale>
      <p:origin x="0" y="-15368"/>
    </p:cViewPr>
  </p:outlineViewPr>
  <p:notesTextViewPr>
    <p:cViewPr>
      <p:scale>
        <a:sx n="3" d="2"/>
        <a:sy n="3" d="2"/>
      </p:scale>
      <p:origin x="0" y="0"/>
    </p:cViewPr>
  </p:notesTextViewPr>
  <p:sorterViewPr>
    <p:cViewPr varScale="1">
      <p:scale>
        <a:sx n="100" d="100"/>
        <a:sy n="100" d="100"/>
      </p:scale>
      <p:origin x="0" y="0"/>
    </p:cViewPr>
  </p:sorterViewPr>
  <p:notesViewPr>
    <p:cSldViewPr snapToGrid="0">
      <p:cViewPr varScale="1">
        <p:scale>
          <a:sx n="80" d="100"/>
          <a:sy n="80" d="100"/>
        </p:scale>
        <p:origin x="3066" y="10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732AE93-04B0-4B14-9BA9-5A4E1E888D43}"/>
              </a:ext>
            </a:extLst>
          </p:cNvPr>
          <p:cNvSpPr>
            <a:spLocks noGrp="1"/>
          </p:cNvSpPr>
          <p:nvPr>
            <p:ph type="ftr" sz="quarter" idx="2"/>
          </p:nvPr>
        </p:nvSpPr>
        <p:spPr>
          <a:xfrm>
            <a:off x="0" y="8685213"/>
            <a:ext cx="3657600" cy="458787"/>
          </a:xfrm>
          <a:prstGeom prst="rect">
            <a:avLst/>
          </a:prstGeom>
        </p:spPr>
        <p:txBody>
          <a:bodyPr vert="horz" lIns="182880" tIns="182880" rIns="182880" bIns="182880" rtlCol="0" anchor="b"/>
          <a:lstStyle>
            <a:lvl1pPr algn="l">
              <a:defRPr sz="1200"/>
            </a:lvl1pPr>
          </a:lstStyle>
          <a:p>
            <a:r>
              <a:rPr lang="en-US" sz="800" dirty="0">
                <a:solidFill>
                  <a:schemeClr val="tx1">
                    <a:lumMod val="50000"/>
                    <a:lumOff val="50000"/>
                  </a:schemeClr>
                </a:solidFill>
              </a:rPr>
              <a:t>© 2017 Keysight Technologies and/or its affiliates. All rights reserved.</a:t>
            </a:r>
          </a:p>
        </p:txBody>
      </p:sp>
      <p:sp>
        <p:nvSpPr>
          <p:cNvPr id="5" name="Slide Number Placeholder 4">
            <a:extLst>
              <a:ext uri="{FF2B5EF4-FFF2-40B4-BE49-F238E27FC236}">
                <a16:creationId xmlns:a16="http://schemas.microsoft.com/office/drawing/2014/main" id="{DDE6FEEE-424C-49DA-AAE0-6FD6D9B0551D}"/>
              </a:ext>
            </a:extLst>
          </p:cNvPr>
          <p:cNvSpPr>
            <a:spLocks noGrp="1"/>
          </p:cNvSpPr>
          <p:nvPr>
            <p:ph type="sldNum" sz="quarter" idx="3"/>
          </p:nvPr>
        </p:nvSpPr>
        <p:spPr>
          <a:xfrm>
            <a:off x="5943600" y="8685213"/>
            <a:ext cx="914400" cy="458787"/>
          </a:xfrm>
          <a:prstGeom prst="rect">
            <a:avLst/>
          </a:prstGeom>
        </p:spPr>
        <p:txBody>
          <a:bodyPr vert="horz" lIns="182880" tIns="182880" rIns="182880" bIns="182880" rtlCol="0" anchor="b"/>
          <a:lstStyle>
            <a:lvl1pPr algn="r">
              <a:defRPr sz="1200"/>
            </a:lvl1pPr>
          </a:lstStyle>
          <a:p>
            <a:fld id="{836D5859-1D5A-48C7-BA8C-83EF8FC1CBCA}" type="slidenum">
              <a:rPr lang="en-US" sz="800" smtClean="0">
                <a:solidFill>
                  <a:schemeClr val="tx1">
                    <a:lumMod val="50000"/>
                    <a:lumOff val="50000"/>
                  </a:schemeClr>
                </a:solidFill>
              </a:rPr>
              <a:t>‹#›</a:t>
            </a:fld>
            <a:endParaRPr lang="en-US" sz="800">
              <a:solidFill>
                <a:schemeClr val="tx1">
                  <a:lumMod val="50000"/>
                  <a:lumOff val="50000"/>
                </a:schemeClr>
              </a:solidFill>
            </a:endParaRPr>
          </a:p>
        </p:txBody>
      </p:sp>
    </p:spTree>
    <p:extLst>
      <p:ext uri="{BB962C8B-B14F-4D97-AF65-F5344CB8AC3E}">
        <p14:creationId xmlns:p14="http://schemas.microsoft.com/office/powerpoint/2010/main" val="1683574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501650" y="914400"/>
            <a:ext cx="5854700" cy="3294063"/>
          </a:xfrm>
          <a:prstGeom prst="rect">
            <a:avLst/>
          </a:prstGeom>
          <a:noFill/>
          <a:ln w="12700">
            <a:solidFill>
              <a:schemeClr val="tx2"/>
            </a:solidFill>
            <a:miter lim="800000"/>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514353" y="4400549"/>
            <a:ext cx="5829301" cy="3600451"/>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685213"/>
            <a:ext cx="3657600" cy="458787"/>
          </a:xfrm>
          <a:prstGeom prst="rect">
            <a:avLst/>
          </a:prstGeom>
        </p:spPr>
        <p:txBody>
          <a:bodyPr vert="horz" wrap="square" lIns="182880" tIns="182880" rIns="182880" bIns="182880" rtlCol="0" anchor="b">
            <a:noAutofit/>
          </a:bodyPr>
          <a:lstStyle>
            <a:lvl1pPr>
              <a:defRPr lang="en-US" sz="800">
                <a:solidFill>
                  <a:schemeClr val="tx1">
                    <a:lumMod val="50000"/>
                    <a:lumOff val="50000"/>
                  </a:schemeClr>
                </a:solidFill>
                <a:latin typeface="Arial" panose="020B0604020202020204" pitchFamily="34" charset="0"/>
                <a:cs typeface="Arial" panose="020B0604020202020204" pitchFamily="34" charset="0"/>
              </a:defRPr>
            </a:lvl1pPr>
          </a:lstStyle>
          <a:p>
            <a:r>
              <a:rPr lang="en-US" dirty="0"/>
              <a:t>© 2017 Keysight Technologies and/or its affiliates. All rights reserved.</a:t>
            </a:r>
          </a:p>
        </p:txBody>
      </p:sp>
      <p:sp>
        <p:nvSpPr>
          <p:cNvPr id="7" name="Slide Number Placeholder 6"/>
          <p:cNvSpPr>
            <a:spLocks noGrp="1"/>
          </p:cNvSpPr>
          <p:nvPr>
            <p:ph type="sldNum" sz="quarter" idx="5"/>
          </p:nvPr>
        </p:nvSpPr>
        <p:spPr>
          <a:xfrm>
            <a:off x="5943600" y="8685213"/>
            <a:ext cx="914400" cy="458787"/>
          </a:xfrm>
          <a:prstGeom prst="rect">
            <a:avLst/>
          </a:prstGeom>
        </p:spPr>
        <p:txBody>
          <a:bodyPr vert="horz" lIns="182880" tIns="182880" rIns="182880" bIns="182880" rtlCol="0" anchor="b"/>
          <a:lstStyle>
            <a:lvl1pPr algn="r">
              <a:defRPr sz="800">
                <a:solidFill>
                  <a:schemeClr val="tx1">
                    <a:lumMod val="50000"/>
                    <a:lumOff val="50000"/>
                  </a:schemeClr>
                </a:solidFill>
                <a:latin typeface="Arial" panose="020B0604020202020204" pitchFamily="34" charset="0"/>
                <a:cs typeface="Arial" panose="020B0604020202020204" pitchFamily="34" charset="0"/>
              </a:defRPr>
            </a:lvl1pPr>
          </a:lstStyle>
          <a:p>
            <a:fld id="{E8FDEE44-2F84-48D1-BBF6-82E16595D1F6}" type="slidenum">
              <a:rPr lang="en-US" smtClean="0"/>
              <a:pPr/>
              <a:t>‹#›</a:t>
            </a:fld>
            <a:endParaRPr lang="en-US"/>
          </a:p>
        </p:txBody>
      </p:sp>
    </p:spTree>
    <p:extLst>
      <p:ext uri="{BB962C8B-B14F-4D97-AF65-F5344CB8AC3E}">
        <p14:creationId xmlns:p14="http://schemas.microsoft.com/office/powerpoint/2010/main" val="3173182270"/>
      </p:ext>
    </p:extLst>
  </p:cSld>
  <p:clrMap bg1="lt1" tx1="dk1" bg2="lt2" tx2="dk2" accent1="accent1" accent2="accent2" accent3="accent3" accent4="accent4" accent5="accent5" accent6="accent6" hlink="hlink" folHlink="folHlink"/>
  <p:notesStyle>
    <a:lvl1pPr marL="0" indent="0" algn="l" defTabSz="914400" rtl="0" eaLnBrk="1" latinLnBrk="0" hangingPunct="1">
      <a:spcBef>
        <a:spcPts val="4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1pPr>
    <a:lvl2pPr marL="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2pPr>
    <a:lvl3pPr marL="27432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3pPr>
    <a:lvl4pPr marL="41148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4pPr>
    <a:lvl5pPr marL="548640" indent="-137160" algn="l" defTabSz="914400" rtl="0" eaLnBrk="1" latinLnBrk="0" hangingPunct="1">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8FDEE44-2F84-48D1-BBF6-82E16595D1F6}" type="slidenum">
              <a:rPr lang="en-US" smtClean="0"/>
              <a:t>1</a:t>
            </a:fld>
            <a:endParaRPr lang="en-US"/>
          </a:p>
        </p:txBody>
      </p:sp>
    </p:spTree>
    <p:extLst>
      <p:ext uri="{BB962C8B-B14F-4D97-AF65-F5344CB8AC3E}">
        <p14:creationId xmlns:p14="http://schemas.microsoft.com/office/powerpoint/2010/main" val="13104103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2</a:t>
            </a:fld>
            <a:endParaRPr lang="en-US"/>
          </a:p>
        </p:txBody>
      </p:sp>
    </p:spTree>
    <p:extLst>
      <p:ext uri="{BB962C8B-B14F-4D97-AF65-F5344CB8AC3E}">
        <p14:creationId xmlns:p14="http://schemas.microsoft.com/office/powerpoint/2010/main" val="5630305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4</a:t>
            </a:fld>
            <a:endParaRPr lang="en-US"/>
          </a:p>
        </p:txBody>
      </p:sp>
    </p:spTree>
    <p:extLst>
      <p:ext uri="{BB962C8B-B14F-4D97-AF65-F5344CB8AC3E}">
        <p14:creationId xmlns:p14="http://schemas.microsoft.com/office/powerpoint/2010/main" val="1729428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5</a:t>
            </a:fld>
            <a:endParaRPr lang="en-US"/>
          </a:p>
        </p:txBody>
      </p:sp>
    </p:spTree>
    <p:extLst>
      <p:ext uri="{BB962C8B-B14F-4D97-AF65-F5344CB8AC3E}">
        <p14:creationId xmlns:p14="http://schemas.microsoft.com/office/powerpoint/2010/main" val="10361468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6</a:t>
            </a:fld>
            <a:endParaRPr lang="en-US"/>
          </a:p>
        </p:txBody>
      </p:sp>
    </p:spTree>
    <p:extLst>
      <p:ext uri="{BB962C8B-B14F-4D97-AF65-F5344CB8AC3E}">
        <p14:creationId xmlns:p14="http://schemas.microsoft.com/office/powerpoint/2010/main" val="24905340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7</a:t>
            </a:fld>
            <a:endParaRPr lang="en-US"/>
          </a:p>
        </p:txBody>
      </p:sp>
    </p:spTree>
    <p:extLst>
      <p:ext uri="{BB962C8B-B14F-4D97-AF65-F5344CB8AC3E}">
        <p14:creationId xmlns:p14="http://schemas.microsoft.com/office/powerpoint/2010/main" val="14681092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8</a:t>
            </a:fld>
            <a:endParaRPr lang="en-US"/>
          </a:p>
        </p:txBody>
      </p:sp>
    </p:spTree>
    <p:extLst>
      <p:ext uri="{BB962C8B-B14F-4D97-AF65-F5344CB8AC3E}">
        <p14:creationId xmlns:p14="http://schemas.microsoft.com/office/powerpoint/2010/main" val="24913048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9</a:t>
            </a:fld>
            <a:endParaRPr lang="en-US"/>
          </a:p>
        </p:txBody>
      </p:sp>
    </p:spTree>
    <p:extLst>
      <p:ext uri="{BB962C8B-B14F-4D97-AF65-F5344CB8AC3E}">
        <p14:creationId xmlns:p14="http://schemas.microsoft.com/office/powerpoint/2010/main" val="40587770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0</a:t>
            </a:fld>
            <a:endParaRPr lang="en-US"/>
          </a:p>
        </p:txBody>
      </p:sp>
    </p:spTree>
    <p:extLst>
      <p:ext uri="{BB962C8B-B14F-4D97-AF65-F5344CB8AC3E}">
        <p14:creationId xmlns:p14="http://schemas.microsoft.com/office/powerpoint/2010/main" val="39209576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8FDEE44-2F84-48D1-BBF6-82E16595D1F6}" type="slidenum">
              <a:rPr lang="en-US" smtClean="0"/>
              <a:pPr/>
              <a:t>11</a:t>
            </a:fld>
            <a:endParaRPr lang="en-US"/>
          </a:p>
        </p:txBody>
      </p:sp>
    </p:spTree>
    <p:extLst>
      <p:ext uri="{BB962C8B-B14F-4D97-AF65-F5344CB8AC3E}">
        <p14:creationId xmlns:p14="http://schemas.microsoft.com/office/powerpoint/2010/main" val="172942827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259E29B8-69B3-4461-B37F-0DBB9DC04766}"/>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Oval 1">
            <a:extLst>
              <a:ext uri="{FF2B5EF4-FFF2-40B4-BE49-F238E27FC236}">
                <a16:creationId xmlns:a16="http://schemas.microsoft.com/office/drawing/2014/main" id="{67C7E9E7-7333-4EF5-9FC3-4CEF923EA801}"/>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40" name="Logo">
            <a:extLst>
              <a:ext uri="{FF2B5EF4-FFF2-40B4-BE49-F238E27FC236}">
                <a16:creationId xmlns:a16="http://schemas.microsoft.com/office/drawing/2014/main" id="{D2A95714-9F6E-48DD-9ED6-94BDDECF0F49}"/>
              </a:ext>
            </a:extLst>
          </p:cNvPr>
          <p:cNvGrpSpPr>
            <a:grpSpLocks noChangeAspect="1"/>
          </p:cNvGrpSpPr>
          <p:nvPr userDrawn="1"/>
        </p:nvGrpSpPr>
        <p:grpSpPr bwMode="black">
          <a:xfrm>
            <a:off x="5258125" y="4703638"/>
            <a:ext cx="1675750" cy="393192"/>
            <a:chOff x="1231901" y="5359401"/>
            <a:chExt cx="11210925" cy="2630487"/>
          </a:xfrm>
        </p:grpSpPr>
        <p:sp>
          <p:nvSpPr>
            <p:cNvPr id="60" name="Freeform 5">
              <a:extLst>
                <a:ext uri="{FF2B5EF4-FFF2-40B4-BE49-F238E27FC236}">
                  <a16:creationId xmlns:a16="http://schemas.microsoft.com/office/drawing/2014/main" id="{39598F92-4036-449A-A381-281AC133F93A}"/>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6">
              <a:extLst>
                <a:ext uri="{FF2B5EF4-FFF2-40B4-BE49-F238E27FC236}">
                  <a16:creationId xmlns:a16="http://schemas.microsoft.com/office/drawing/2014/main" id="{6A04830E-5424-4362-9CD6-60CBCC39C203}"/>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 name="Ruler">
            <a:extLst>
              <a:ext uri="{FF2B5EF4-FFF2-40B4-BE49-F238E27FC236}">
                <a16:creationId xmlns:a16="http://schemas.microsoft.com/office/drawing/2014/main" id="{DBE24C15-4489-4BF7-A20E-4FEB0A1A6671}"/>
              </a:ext>
            </a:extLst>
          </p:cNvPr>
          <p:cNvGrpSpPr/>
          <p:nvPr userDrawn="1"/>
        </p:nvGrpSpPr>
        <p:grpSpPr>
          <a:xfrm>
            <a:off x="5273041" y="4219340"/>
            <a:ext cx="1645920" cy="339946"/>
            <a:chOff x="5273041" y="4219340"/>
            <a:chExt cx="1645920" cy="339946"/>
          </a:xfrm>
        </p:grpSpPr>
        <p:cxnSp>
          <p:nvCxnSpPr>
            <p:cNvPr id="50" name="Straight Connector 49">
              <a:extLst>
                <a:ext uri="{FF2B5EF4-FFF2-40B4-BE49-F238E27FC236}">
                  <a16:creationId xmlns:a16="http://schemas.microsoft.com/office/drawing/2014/main" id="{EBDB098C-E5AE-4364-A913-1C8D462BF9B3}"/>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9A6D359-A1D3-413C-8281-5A2E7EEE320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5A7D9A44-D64C-4D5A-B183-958220A4996C}"/>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34F8A2C-8776-4D1A-93D7-4590C0622121}"/>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F91CB2CF-6B6F-48D5-8365-33EC34BA80A0}"/>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458D058-1610-4C89-9349-E009140E28F5}"/>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35743F61-B1FA-44F3-81EC-3FF4A1864B3B}"/>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6A99D48-7BDC-4896-BBA2-67770AABD231}"/>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B3F7266-53C6-4879-8513-A4486B8FC303}"/>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465021D-7CFB-4445-8798-684D88150AE5}"/>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1F2AFDE6-7C63-49EA-B242-2927A8B9902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D252C539-DDC5-412A-AD14-69BA4ED96AF5}"/>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A6D93BA2-F008-40E1-825E-6CF327EC92DA}"/>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D2E7C4B-6367-42C3-B536-906DE4FD552D}"/>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A78576E-5C4A-48E5-B281-76308E82DB77}"/>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1B39927-09E1-467A-8149-FE7A19A30F66}"/>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DC32B564-C1C7-4C1A-8066-81D90765D42D}"/>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31267B10-9154-4C28-9140-3AF5C2021E44}"/>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90F9B9-A40C-41F9-B489-C1D87E71C101}"/>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6" name="Speaker Name">
            <a:extLst>
              <a:ext uri="{FF2B5EF4-FFF2-40B4-BE49-F238E27FC236}">
                <a16:creationId xmlns:a16="http://schemas.microsoft.com/office/drawing/2014/main" id="{88104DA9-6CD2-4C4F-A6AE-C5D0CD6E016A}"/>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37" name="Text Placeholder 128">
            <a:extLst>
              <a:ext uri="{FF2B5EF4-FFF2-40B4-BE49-F238E27FC236}">
                <a16:creationId xmlns:a16="http://schemas.microsoft.com/office/drawing/2014/main" id="{69D5EB8D-3B85-4059-8F34-4BFB6D0DED4E}"/>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38" name="Speaker Title">
            <a:extLst>
              <a:ext uri="{FF2B5EF4-FFF2-40B4-BE49-F238E27FC236}">
                <a16:creationId xmlns:a16="http://schemas.microsoft.com/office/drawing/2014/main" id="{0D9078F8-E937-4EF3-AC9B-A84856FA9487}"/>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31" name="Title">
            <a:extLst>
              <a:ext uri="{FF2B5EF4-FFF2-40B4-BE49-F238E27FC236}">
                <a16:creationId xmlns:a16="http://schemas.microsoft.com/office/drawing/2014/main" id="{7A92962A-B660-43F3-9C7C-C1CD756ED73A}"/>
              </a:ext>
            </a:extLst>
          </p:cNvPr>
          <p:cNvSpPr>
            <a:spLocks noGrp="1"/>
          </p:cNvSpPr>
          <p:nvPr>
            <p:ph type="title" hasCustomPrompt="1"/>
          </p:nvPr>
        </p:nvSpPr>
        <p:spPr>
          <a:xfrm>
            <a:off x="1409700" y="1456875"/>
            <a:ext cx="9372600" cy="1336928"/>
          </a:xfrm>
        </p:spPr>
        <p:txBody>
          <a:bodyPr anchor="b"/>
          <a:lstStyle>
            <a:lvl1pPr algn="ctr">
              <a:lnSpc>
                <a:spcPct val="90000"/>
              </a:lnSpc>
              <a:defRPr sz="4400"/>
            </a:lvl1pPr>
          </a:lstStyle>
          <a:p>
            <a:r>
              <a:rPr lang="en-US" dirty="0"/>
              <a:t>Title Slide Layout</a:t>
            </a:r>
          </a:p>
        </p:txBody>
      </p:sp>
      <p:sp>
        <p:nvSpPr>
          <p:cNvPr id="30" name="Rectangle 29">
            <a:extLst>
              <a:ext uri="{FF2B5EF4-FFF2-40B4-BE49-F238E27FC236}">
                <a16:creationId xmlns:a16="http://schemas.microsoft.com/office/drawing/2014/main" id="{9FC49378-BFD9-43A8-8DB2-52BE426047C8}"/>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302638786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 Full">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E04A056E-0A81-49A4-A1E8-EC8E2D83F6A9}"/>
              </a:ext>
            </a:extLst>
          </p:cNvPr>
          <p:cNvSpPr>
            <a:spLocks noGrp="1" noChangeAspect="1"/>
          </p:cNvSpPr>
          <p:nvPr>
            <p:ph type="pic" sz="quarter" idx="15" hasCustomPrompt="1"/>
          </p:nvPr>
        </p:nvSpPr>
        <p:spPr>
          <a:xfrm>
            <a:off x="0" y="447"/>
            <a:ext cx="12192000" cy="6857107"/>
          </a:xfrm>
          <a:solidFill>
            <a:schemeClr val="bg1">
              <a:lumMod val="85000"/>
            </a:schemeClr>
          </a:solidFill>
        </p:spPr>
        <p:txBody>
          <a:bodyPr bIns="640080" anchor="ctr"/>
          <a:lstStyle>
            <a:lvl1pPr marL="0" indent="0" algn="ctr">
              <a:buFont typeface="Arial" panose="020B0604020202020204" pitchFamily="34" charset="0"/>
              <a:buNone/>
              <a:defRPr sz="1800">
                <a:solidFill>
                  <a:schemeClr val="tx1"/>
                </a:solidFill>
              </a:defRPr>
            </a:lvl1pPr>
          </a:lstStyle>
          <a:p>
            <a:r>
              <a:rPr lang="en-US" dirty="0"/>
              <a:t>Click icon below to insert a picture</a:t>
            </a:r>
          </a:p>
        </p:txBody>
      </p:sp>
    </p:spTree>
    <p:extLst>
      <p:ext uri="{BB962C8B-B14F-4D97-AF65-F5344CB8AC3E}">
        <p14:creationId xmlns:p14="http://schemas.microsoft.com/office/powerpoint/2010/main" val="4251802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hoto Mosaic">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22" name="Picture Placeholder 3">
            <a:extLst>
              <a:ext uri="{FF2B5EF4-FFF2-40B4-BE49-F238E27FC236}">
                <a16:creationId xmlns:a16="http://schemas.microsoft.com/office/drawing/2014/main" id="{F06E54C9-A448-4577-8FFC-86B9235556E4}"/>
              </a:ext>
            </a:extLst>
          </p:cNvPr>
          <p:cNvSpPr>
            <a:spLocks noGrp="1" noChangeAspect="1"/>
          </p:cNvSpPr>
          <p:nvPr>
            <p:ph type="pic" sz="quarter" idx="14" hasCustomPrompt="1"/>
          </p:nvPr>
        </p:nvSpPr>
        <p:spPr>
          <a:xfrm>
            <a:off x="449261"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3" name="Picture Placeholder 3">
            <a:extLst>
              <a:ext uri="{FF2B5EF4-FFF2-40B4-BE49-F238E27FC236}">
                <a16:creationId xmlns:a16="http://schemas.microsoft.com/office/drawing/2014/main" id="{750D041D-3D23-45A0-B825-F6942FB33899}"/>
              </a:ext>
            </a:extLst>
          </p:cNvPr>
          <p:cNvSpPr>
            <a:spLocks noGrp="1" noChangeAspect="1"/>
          </p:cNvSpPr>
          <p:nvPr>
            <p:ph type="pic" sz="quarter" idx="29" hasCustomPrompt="1"/>
          </p:nvPr>
        </p:nvSpPr>
        <p:spPr>
          <a:xfrm>
            <a:off x="449261"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4" name="Picture Placeholder 3">
            <a:extLst>
              <a:ext uri="{FF2B5EF4-FFF2-40B4-BE49-F238E27FC236}">
                <a16:creationId xmlns:a16="http://schemas.microsoft.com/office/drawing/2014/main" id="{A34408D2-7305-44BD-88E2-4782253029F6}"/>
              </a:ext>
            </a:extLst>
          </p:cNvPr>
          <p:cNvSpPr>
            <a:spLocks noGrp="1" noChangeAspect="1"/>
          </p:cNvSpPr>
          <p:nvPr>
            <p:ph type="pic" sz="quarter" idx="30" hasCustomPrompt="1"/>
          </p:nvPr>
        </p:nvSpPr>
        <p:spPr>
          <a:xfrm>
            <a:off x="449261"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5" name="Picture Placeholder 3">
            <a:extLst>
              <a:ext uri="{FF2B5EF4-FFF2-40B4-BE49-F238E27FC236}">
                <a16:creationId xmlns:a16="http://schemas.microsoft.com/office/drawing/2014/main" id="{AE057395-5D60-4151-A3F4-BD3C26F517E0}"/>
              </a:ext>
            </a:extLst>
          </p:cNvPr>
          <p:cNvSpPr>
            <a:spLocks noGrp="1" noChangeAspect="1"/>
          </p:cNvSpPr>
          <p:nvPr>
            <p:ph type="pic" sz="quarter" idx="31" hasCustomPrompt="1"/>
          </p:nvPr>
        </p:nvSpPr>
        <p:spPr>
          <a:xfrm>
            <a:off x="2724005"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6" name="Picture Placeholder 3">
            <a:extLst>
              <a:ext uri="{FF2B5EF4-FFF2-40B4-BE49-F238E27FC236}">
                <a16:creationId xmlns:a16="http://schemas.microsoft.com/office/drawing/2014/main" id="{82EC2578-E69B-48E7-9A0D-509C4DCB31EA}"/>
              </a:ext>
            </a:extLst>
          </p:cNvPr>
          <p:cNvSpPr>
            <a:spLocks noGrp="1" noChangeAspect="1"/>
          </p:cNvSpPr>
          <p:nvPr>
            <p:ph type="pic" sz="quarter" idx="32" hasCustomPrompt="1"/>
          </p:nvPr>
        </p:nvSpPr>
        <p:spPr>
          <a:xfrm>
            <a:off x="2724005"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7" name="Picture Placeholder 3">
            <a:extLst>
              <a:ext uri="{FF2B5EF4-FFF2-40B4-BE49-F238E27FC236}">
                <a16:creationId xmlns:a16="http://schemas.microsoft.com/office/drawing/2014/main" id="{7D0D4746-2A3C-4008-AE56-9C971679424A}"/>
              </a:ext>
            </a:extLst>
          </p:cNvPr>
          <p:cNvSpPr>
            <a:spLocks noGrp="1" noChangeAspect="1"/>
          </p:cNvSpPr>
          <p:nvPr>
            <p:ph type="pic" sz="quarter" idx="33" hasCustomPrompt="1"/>
          </p:nvPr>
        </p:nvSpPr>
        <p:spPr>
          <a:xfrm>
            <a:off x="2724005"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8" name="Picture Placeholder 3">
            <a:extLst>
              <a:ext uri="{FF2B5EF4-FFF2-40B4-BE49-F238E27FC236}">
                <a16:creationId xmlns:a16="http://schemas.microsoft.com/office/drawing/2014/main" id="{4FCA5D73-8894-4E23-A184-A54E0EC5A0EE}"/>
              </a:ext>
            </a:extLst>
          </p:cNvPr>
          <p:cNvSpPr>
            <a:spLocks noGrp="1" noChangeAspect="1"/>
          </p:cNvSpPr>
          <p:nvPr>
            <p:ph type="pic" sz="quarter" idx="34" hasCustomPrompt="1"/>
          </p:nvPr>
        </p:nvSpPr>
        <p:spPr>
          <a:xfrm>
            <a:off x="499874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29" name="Picture Placeholder 3">
            <a:extLst>
              <a:ext uri="{FF2B5EF4-FFF2-40B4-BE49-F238E27FC236}">
                <a16:creationId xmlns:a16="http://schemas.microsoft.com/office/drawing/2014/main" id="{6ACBD5C3-DCFC-4051-9545-03D3162522D6}"/>
              </a:ext>
            </a:extLst>
          </p:cNvPr>
          <p:cNvSpPr>
            <a:spLocks noGrp="1" noChangeAspect="1"/>
          </p:cNvSpPr>
          <p:nvPr>
            <p:ph type="pic" sz="quarter" idx="35" hasCustomPrompt="1"/>
          </p:nvPr>
        </p:nvSpPr>
        <p:spPr>
          <a:xfrm>
            <a:off x="499874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0" name="Picture Placeholder 3">
            <a:extLst>
              <a:ext uri="{FF2B5EF4-FFF2-40B4-BE49-F238E27FC236}">
                <a16:creationId xmlns:a16="http://schemas.microsoft.com/office/drawing/2014/main" id="{1A66F51C-4B75-45D7-A374-BEBFC16F4525}"/>
              </a:ext>
            </a:extLst>
          </p:cNvPr>
          <p:cNvSpPr>
            <a:spLocks noGrp="1" noChangeAspect="1"/>
          </p:cNvSpPr>
          <p:nvPr>
            <p:ph type="pic" sz="quarter" idx="36" hasCustomPrompt="1"/>
          </p:nvPr>
        </p:nvSpPr>
        <p:spPr>
          <a:xfrm>
            <a:off x="499874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1" name="Picture Placeholder 3">
            <a:extLst>
              <a:ext uri="{FF2B5EF4-FFF2-40B4-BE49-F238E27FC236}">
                <a16:creationId xmlns:a16="http://schemas.microsoft.com/office/drawing/2014/main" id="{892A4E8F-9D23-4A3B-9CF3-6E98766A0FC3}"/>
              </a:ext>
            </a:extLst>
          </p:cNvPr>
          <p:cNvSpPr>
            <a:spLocks noGrp="1" noChangeAspect="1"/>
          </p:cNvSpPr>
          <p:nvPr>
            <p:ph type="pic" sz="quarter" idx="37" hasCustomPrompt="1"/>
          </p:nvPr>
        </p:nvSpPr>
        <p:spPr>
          <a:xfrm>
            <a:off x="7273493"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2" name="Picture Placeholder 3">
            <a:extLst>
              <a:ext uri="{FF2B5EF4-FFF2-40B4-BE49-F238E27FC236}">
                <a16:creationId xmlns:a16="http://schemas.microsoft.com/office/drawing/2014/main" id="{F7C4C030-205C-4BEE-910F-AE86E4049451}"/>
              </a:ext>
            </a:extLst>
          </p:cNvPr>
          <p:cNvSpPr>
            <a:spLocks noGrp="1" noChangeAspect="1"/>
          </p:cNvSpPr>
          <p:nvPr>
            <p:ph type="pic" sz="quarter" idx="38" hasCustomPrompt="1"/>
          </p:nvPr>
        </p:nvSpPr>
        <p:spPr>
          <a:xfrm>
            <a:off x="7273493"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3" name="Picture Placeholder 3">
            <a:extLst>
              <a:ext uri="{FF2B5EF4-FFF2-40B4-BE49-F238E27FC236}">
                <a16:creationId xmlns:a16="http://schemas.microsoft.com/office/drawing/2014/main" id="{FC23546C-CAC0-4FD6-8C62-1F4F217EC83D}"/>
              </a:ext>
            </a:extLst>
          </p:cNvPr>
          <p:cNvSpPr>
            <a:spLocks noGrp="1" noChangeAspect="1"/>
          </p:cNvSpPr>
          <p:nvPr>
            <p:ph type="pic" sz="quarter" idx="39" hasCustomPrompt="1"/>
          </p:nvPr>
        </p:nvSpPr>
        <p:spPr>
          <a:xfrm>
            <a:off x="7273493"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4" name="Picture Placeholder 3">
            <a:extLst>
              <a:ext uri="{FF2B5EF4-FFF2-40B4-BE49-F238E27FC236}">
                <a16:creationId xmlns:a16="http://schemas.microsoft.com/office/drawing/2014/main" id="{084AFB79-D26E-4F3D-8A40-6D479CF90DB0}"/>
              </a:ext>
            </a:extLst>
          </p:cNvPr>
          <p:cNvSpPr>
            <a:spLocks noGrp="1" noChangeAspect="1"/>
          </p:cNvSpPr>
          <p:nvPr>
            <p:ph type="pic" sz="quarter" idx="40" hasCustomPrompt="1"/>
          </p:nvPr>
        </p:nvSpPr>
        <p:spPr>
          <a:xfrm>
            <a:off x="9548239" y="1975474"/>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5" name="Picture Placeholder 3">
            <a:extLst>
              <a:ext uri="{FF2B5EF4-FFF2-40B4-BE49-F238E27FC236}">
                <a16:creationId xmlns:a16="http://schemas.microsoft.com/office/drawing/2014/main" id="{897A7121-A588-46B7-AF5B-FDF684B00905}"/>
              </a:ext>
            </a:extLst>
          </p:cNvPr>
          <p:cNvSpPr>
            <a:spLocks noGrp="1" noChangeAspect="1"/>
          </p:cNvSpPr>
          <p:nvPr>
            <p:ph type="pic" sz="quarter" idx="41" hasCustomPrompt="1"/>
          </p:nvPr>
        </p:nvSpPr>
        <p:spPr>
          <a:xfrm>
            <a:off x="9548239" y="3289305"/>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6" name="Picture Placeholder 3">
            <a:extLst>
              <a:ext uri="{FF2B5EF4-FFF2-40B4-BE49-F238E27FC236}">
                <a16:creationId xmlns:a16="http://schemas.microsoft.com/office/drawing/2014/main" id="{89C5946B-4047-4FB3-AC49-D0F9A0F37808}"/>
              </a:ext>
            </a:extLst>
          </p:cNvPr>
          <p:cNvSpPr>
            <a:spLocks noGrp="1" noChangeAspect="1"/>
          </p:cNvSpPr>
          <p:nvPr>
            <p:ph type="pic" sz="quarter" idx="42" hasCustomPrompt="1"/>
          </p:nvPr>
        </p:nvSpPr>
        <p:spPr>
          <a:xfrm>
            <a:off x="9548239" y="4603136"/>
            <a:ext cx="2194560" cy="1234440"/>
          </a:xfrm>
          <a:solidFill>
            <a:schemeClr val="bg1">
              <a:lumMod val="85000"/>
            </a:schemeClr>
          </a:solidFill>
        </p:spPr>
        <p:txBody>
          <a:bodyPr vert="horz" lIns="0" tIns="0" rIns="0" bIns="548640" rtlCol="0" anchor="ctr">
            <a:noAutofit/>
          </a:bodyPr>
          <a:lstStyle>
            <a:lvl1pPr marL="0" indent="0" algn="ctr">
              <a:buNone/>
              <a:defRPr lang="en-US" sz="1800" dirty="0">
                <a:solidFill>
                  <a:schemeClr val="tx1"/>
                </a:solidFill>
              </a:defRPr>
            </a:lvl1pPr>
          </a:lstStyle>
          <a:p>
            <a:pPr lvl="0" algn="ctr"/>
            <a:r>
              <a:rPr lang="en-US" dirty="0"/>
              <a:t>Picture</a:t>
            </a:r>
          </a:p>
        </p:txBody>
      </p:sp>
      <p:sp>
        <p:nvSpPr>
          <p:cNvPr id="3" name="Footer Placeholder 2">
            <a:extLst>
              <a:ext uri="{FF2B5EF4-FFF2-40B4-BE49-F238E27FC236}">
                <a16:creationId xmlns:a16="http://schemas.microsoft.com/office/drawing/2014/main" id="{6CDC077E-289F-4AAE-B3F6-9B318C828A23}"/>
              </a:ext>
            </a:extLst>
          </p:cNvPr>
          <p:cNvSpPr>
            <a:spLocks noGrp="1"/>
          </p:cNvSpPr>
          <p:nvPr>
            <p:ph type="ftr" sz="quarter" idx="43"/>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F4F685A-9886-45FB-8B04-AB8597A67C3F}"/>
              </a:ext>
            </a:extLst>
          </p:cNvPr>
          <p:cNvSpPr>
            <a:spLocks noGrp="1"/>
          </p:cNvSpPr>
          <p:nvPr>
            <p:ph type="title" hasCustomPrompt="1"/>
          </p:nvPr>
        </p:nvSpPr>
        <p:spPr/>
        <p:txBody>
          <a:bodyPr/>
          <a:lstStyle>
            <a:lvl1pPr>
              <a:defRPr/>
            </a:lvl1pPr>
          </a:lstStyle>
          <a:p>
            <a:r>
              <a:rPr lang="en-US" dirty="0"/>
              <a:t>Photo Mosaic Layout</a:t>
            </a:r>
          </a:p>
        </p:txBody>
      </p:sp>
    </p:spTree>
    <p:extLst>
      <p:ext uri="{BB962C8B-B14F-4D97-AF65-F5344CB8AC3E}">
        <p14:creationId xmlns:p14="http://schemas.microsoft.com/office/powerpoint/2010/main" val="2344811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CE3183E7-4A32-4F91-8AF8-C43C846072F3}"/>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1776819" y="5140292"/>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1776819" y="4734027"/>
            <a:ext cx="3248006" cy="4062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2" name="Quote">
            <a:extLst>
              <a:ext uri="{FF2B5EF4-FFF2-40B4-BE49-F238E27FC236}">
                <a16:creationId xmlns:a16="http://schemas.microsoft.com/office/drawing/2014/main" id="{86824591-1B5F-489A-9593-4CEFC4B3EE2A}"/>
              </a:ext>
            </a:extLst>
          </p:cNvPr>
          <p:cNvSpPr>
            <a:spLocks noGrp="1"/>
          </p:cNvSpPr>
          <p:nvPr>
            <p:ph type="title" hasCustomPrompt="1"/>
          </p:nvPr>
        </p:nvSpPr>
        <p:spPr>
          <a:xfrm>
            <a:off x="1776819" y="1454532"/>
            <a:ext cx="8636427" cy="3279494"/>
          </a:xfrm>
          <a:ln w="19050">
            <a:solidFill>
              <a:schemeClr val="tx1">
                <a:lumMod val="75000"/>
                <a:lumOff val="25000"/>
              </a:schemeClr>
            </a:solidFill>
            <a:miter lim="800000"/>
          </a:ln>
        </p:spPr>
        <p:txBody>
          <a:bodyPr vert="horz" lIns="182880" tIns="91440" rIns="182880" bIns="91440" rtlCol="0" anchor="t">
            <a:noAutofit/>
          </a:bodyPr>
          <a:lstStyle>
            <a:lvl1pPr>
              <a:lnSpc>
                <a:spcPct val="100000"/>
              </a:lnSpc>
              <a:defRPr lang="en-US" dirty="0">
                <a:solidFill>
                  <a:schemeClr val="tx1">
                    <a:lumMod val="85000"/>
                    <a:lumOff val="15000"/>
                  </a:schemeClr>
                </a:solidFill>
              </a:defRPr>
            </a:lvl1pPr>
          </a:lstStyle>
          <a:p>
            <a:pPr marL="0" lvl="0">
              <a:lnSpc>
                <a:spcPct val="100000"/>
              </a:lnSpc>
            </a:pPr>
            <a:r>
              <a:rPr lang="en-US" dirty="0"/>
              <a:t>Quote layout.</a:t>
            </a:r>
          </a:p>
        </p:txBody>
      </p:sp>
      <p:grpSp>
        <p:nvGrpSpPr>
          <p:cNvPr id="22" name="Quote_Box">
            <a:extLst>
              <a:ext uri="{FF2B5EF4-FFF2-40B4-BE49-F238E27FC236}">
                <a16:creationId xmlns:a16="http://schemas.microsoft.com/office/drawing/2014/main" id="{16644DA2-FD5C-4132-871A-2F4CC3B9C325}"/>
              </a:ext>
            </a:extLst>
          </p:cNvPr>
          <p:cNvGrpSpPr>
            <a:grpSpLocks noChangeAspect="1"/>
          </p:cNvGrpSpPr>
          <p:nvPr userDrawn="1"/>
        </p:nvGrpSpPr>
        <p:grpSpPr>
          <a:xfrm>
            <a:off x="1127850" y="1454532"/>
            <a:ext cx="648005" cy="648005"/>
            <a:chOff x="1127850" y="1457847"/>
            <a:chExt cx="648005" cy="648005"/>
          </a:xfrm>
        </p:grpSpPr>
        <p:sp>
          <p:nvSpPr>
            <p:cNvPr id="23" name="Quote_Box">
              <a:extLst>
                <a:ext uri="{FF2B5EF4-FFF2-40B4-BE49-F238E27FC236}">
                  <a16:creationId xmlns:a16="http://schemas.microsoft.com/office/drawing/2014/main" id="{F8742923-446F-4F3E-A318-7D750E032EAE}"/>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24" name="Icon">
              <a:extLst>
                <a:ext uri="{FF2B5EF4-FFF2-40B4-BE49-F238E27FC236}">
                  <a16:creationId xmlns:a16="http://schemas.microsoft.com/office/drawing/2014/main" id="{64D02E25-A2AE-488C-8479-BFF4596F0CD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88DB22BC-764C-491D-888B-64DE8D2F75FD}"/>
              </a:ext>
            </a:extLst>
          </p:cNvPr>
          <p:cNvSpPr>
            <a:spLocks noGrp="1"/>
          </p:cNvSpPr>
          <p:nvPr>
            <p:ph type="ftr" sz="quarter" idx="19"/>
          </p:nvPr>
        </p:nvSpPr>
        <p:spPr/>
        <p:txBody>
          <a:bodyPr/>
          <a:lstStyle/>
          <a:p>
            <a:r>
              <a:rPr lang="en-US"/>
              <a:t>Optional Title of the Presentation</a:t>
            </a:r>
            <a:endParaRPr lang="en-US" dirty="0"/>
          </a:p>
        </p:txBody>
      </p:sp>
      <p:sp>
        <p:nvSpPr>
          <p:cNvPr id="26" name="Slide Number">
            <a:extLst>
              <a:ext uri="{FF2B5EF4-FFF2-40B4-BE49-F238E27FC236}">
                <a16:creationId xmlns:a16="http://schemas.microsoft.com/office/drawing/2014/main" id="{3BF195AF-9651-4702-B588-B7C0FCFE2DB2}"/>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27" name="Logo">
            <a:extLst>
              <a:ext uri="{FF2B5EF4-FFF2-40B4-BE49-F238E27FC236}">
                <a16:creationId xmlns:a16="http://schemas.microsoft.com/office/drawing/2014/main" id="{D793CBCB-9D3E-4FB2-9244-94F5FE9EB03D}"/>
              </a:ext>
            </a:extLst>
          </p:cNvPr>
          <p:cNvGrpSpPr>
            <a:grpSpLocks noChangeAspect="1"/>
          </p:cNvGrpSpPr>
          <p:nvPr userDrawn="1"/>
        </p:nvGrpSpPr>
        <p:grpSpPr bwMode="black">
          <a:xfrm>
            <a:off x="428653" y="6447297"/>
            <a:ext cx="914400" cy="214552"/>
            <a:chOff x="1231901" y="5359401"/>
            <a:chExt cx="11210925" cy="2630487"/>
          </a:xfrm>
        </p:grpSpPr>
        <p:sp>
          <p:nvSpPr>
            <p:cNvPr id="28" name="Freeform 5">
              <a:extLst>
                <a:ext uri="{FF2B5EF4-FFF2-40B4-BE49-F238E27FC236}">
                  <a16:creationId xmlns:a16="http://schemas.microsoft.com/office/drawing/2014/main" id="{5CA6D27F-C163-4B78-8C9F-63F81E7A86B3}"/>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6">
              <a:extLst>
                <a:ext uri="{FF2B5EF4-FFF2-40B4-BE49-F238E27FC236}">
                  <a16:creationId xmlns:a16="http://schemas.microsoft.com/office/drawing/2014/main" id="{2CF469B8-42CE-43E7-A089-ED56DA2D857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579139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04" name="Affiliation">
            <a:extLst>
              <a:ext uri="{FF2B5EF4-FFF2-40B4-BE49-F238E27FC236}">
                <a16:creationId xmlns:a16="http://schemas.microsoft.com/office/drawing/2014/main" id="{705559C5-878A-4763-8DD2-8E2E436F4B4A}"/>
              </a:ext>
            </a:extLst>
          </p:cNvPr>
          <p:cNvSpPr>
            <a:spLocks noGrp="1"/>
          </p:cNvSpPr>
          <p:nvPr>
            <p:ph type="body" sz="quarter" idx="21" hasCustomPrompt="1"/>
          </p:nvPr>
        </p:nvSpPr>
        <p:spPr>
          <a:xfrm>
            <a:off x="630038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p:ph type="body" sz="quarter" idx="22" hasCustomPrompt="1"/>
          </p:nvPr>
        </p:nvSpPr>
        <p:spPr>
          <a:xfrm>
            <a:off x="630038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p:ph type="body" sz="quarter" idx="23" hasCustomPrompt="1"/>
          </p:nvPr>
        </p:nvSpPr>
        <p:spPr>
          <a:xfrm>
            <a:off x="6300383" y="1630264"/>
            <a:ext cx="507306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106" name="Quote_Box">
            <a:extLst>
              <a:ext uri="{FF2B5EF4-FFF2-40B4-BE49-F238E27FC236}">
                <a16:creationId xmlns:a16="http://schemas.microsoft.com/office/drawing/2014/main" id="{ABCF5F15-1C99-4B5F-A62C-06821A1D013D}"/>
              </a:ext>
            </a:extLst>
          </p:cNvPr>
          <p:cNvGrpSpPr>
            <a:grpSpLocks noChangeAspect="1"/>
          </p:cNvGrpSpPr>
          <p:nvPr userDrawn="1"/>
        </p:nvGrpSpPr>
        <p:grpSpPr>
          <a:xfrm>
            <a:off x="6300383" y="1115459"/>
            <a:ext cx="509542" cy="509542"/>
            <a:chOff x="1127850" y="1457847"/>
            <a:chExt cx="648005" cy="648005"/>
          </a:xfrm>
        </p:grpSpPr>
        <p:sp>
          <p:nvSpPr>
            <p:cNvPr id="107" name="Quote_Box">
              <a:extLst>
                <a:ext uri="{FF2B5EF4-FFF2-40B4-BE49-F238E27FC236}">
                  <a16:creationId xmlns:a16="http://schemas.microsoft.com/office/drawing/2014/main" id="{BBFBCDF7-264A-4503-9A4A-3935E8AFA29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grpSp>
      <p:sp>
        <p:nvSpPr>
          <p:cNvPr id="9" name="Affiliation">
            <a:extLst>
              <a:ext uri="{FF2B5EF4-FFF2-40B4-BE49-F238E27FC236}">
                <a16:creationId xmlns:a16="http://schemas.microsoft.com/office/drawing/2014/main" id="{39EF96E8-8057-43E5-A862-D955F5E6F29D}"/>
              </a:ext>
            </a:extLst>
          </p:cNvPr>
          <p:cNvSpPr>
            <a:spLocks noGrp="1"/>
          </p:cNvSpPr>
          <p:nvPr>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p:ph type="body" sz="quarter" idx="20" hasCustomPrompt="1"/>
          </p:nvPr>
        </p:nvSpPr>
        <p:spPr>
          <a:xfrm>
            <a:off x="817111" y="1630264"/>
            <a:ext cx="5069850" cy="3102074"/>
          </a:xfrm>
          <a:ln w="19050">
            <a:solidFill>
              <a:schemeClr val="tx1">
                <a:lumMod val="75000"/>
                <a:lumOff val="25000"/>
              </a:schemeClr>
            </a:solidFill>
            <a:miter lim="800000"/>
          </a:ln>
        </p:spPr>
        <p:txBody>
          <a:bodyPr lIns="182880" tIns="182880" rIns="182880" bIns="182880">
            <a:noAutofit/>
          </a:bodyPr>
          <a:lstStyle>
            <a:lvl1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1pPr>
            <a:lvl2pPr marL="0" indent="0">
              <a:lnSpc>
                <a:spcPct val="100000"/>
              </a:lnSpc>
              <a:spcBef>
                <a:spcPts val="1600"/>
              </a:spcBef>
              <a:spcAft>
                <a:spcPts val="0"/>
              </a:spcAft>
              <a:buFont typeface="Arial" panose="020B0604020202020204" pitchFamily="34" charset="0"/>
              <a:buNone/>
              <a:defRPr sz="2000" b="1" spc="0">
                <a:solidFill>
                  <a:schemeClr val="tx1">
                    <a:lumMod val="85000"/>
                    <a:lumOff val="15000"/>
                  </a:schemeClr>
                </a:solidFill>
              </a:defRPr>
            </a:lvl2pPr>
            <a:lvl3pPr marL="0" indent="0">
              <a:lnSpc>
                <a:spcPct val="100000"/>
              </a:lnSpc>
              <a:spcBef>
                <a:spcPts val="1600"/>
              </a:spcBef>
              <a:spcAft>
                <a:spcPts val="0"/>
              </a:spcAft>
              <a:buFont typeface="Arial" panose="020B0604020202020204" pitchFamily="34" charset="0"/>
              <a:buChar char="​"/>
              <a:defRPr sz="2000" b="1" spc="0">
                <a:solidFill>
                  <a:schemeClr val="tx1">
                    <a:lumMod val="85000"/>
                    <a:lumOff val="15000"/>
                  </a:schemeClr>
                </a:solidFill>
              </a:defRPr>
            </a:lvl3pPr>
            <a:lvl4pPr>
              <a:lnSpc>
                <a:spcPct val="100000"/>
              </a:lnSpc>
              <a:spcBef>
                <a:spcPts val="1600"/>
              </a:spcBef>
              <a:spcAft>
                <a:spcPts val="0"/>
              </a:spcAft>
              <a:defRPr sz="2000" b="1" cap="none" spc="0" baseline="0">
                <a:solidFill>
                  <a:schemeClr val="tx1">
                    <a:lumMod val="85000"/>
                    <a:lumOff val="15000"/>
                  </a:schemeClr>
                </a:solidFill>
              </a:defRPr>
            </a:lvl4pPr>
            <a:lvl5pPr>
              <a:lnSpc>
                <a:spcPct val="100000"/>
              </a:lnSpc>
              <a:spcBef>
                <a:spcPts val="1600"/>
              </a:spcBef>
              <a:spcAft>
                <a:spcPts val="0"/>
              </a:spcAft>
              <a:defRPr sz="2000" b="1" spc="0">
                <a:solidFill>
                  <a:schemeClr val="tx1">
                    <a:lumMod val="85000"/>
                    <a:lumOff val="15000"/>
                  </a:schemeClr>
                </a:solidFill>
              </a:defRPr>
            </a:lvl5pPr>
            <a:lvl6pPr indent="0">
              <a:lnSpc>
                <a:spcPct val="100000"/>
              </a:lnSpc>
              <a:spcBef>
                <a:spcPts val="1600"/>
              </a:spcBef>
              <a:spcAft>
                <a:spcPts val="0"/>
              </a:spcAft>
              <a:defRPr sz="2000" b="1" i="0" cap="none" spc="0" baseline="0">
                <a:solidFill>
                  <a:schemeClr val="tx1">
                    <a:lumMod val="85000"/>
                    <a:lumOff val="15000"/>
                  </a:schemeClr>
                </a:solidFill>
              </a:defRPr>
            </a:lvl6pPr>
            <a:lvl7pPr indent="0">
              <a:lnSpc>
                <a:spcPct val="100000"/>
              </a:lnSpc>
              <a:spcBef>
                <a:spcPts val="1600"/>
              </a:spcBef>
              <a:spcAft>
                <a:spcPts val="0"/>
              </a:spcAft>
              <a:defRPr sz="2000" b="1" i="0" cap="none" spc="0" baseline="0">
                <a:solidFill>
                  <a:schemeClr val="tx1">
                    <a:lumMod val="85000"/>
                    <a:lumOff val="15000"/>
                  </a:schemeClr>
                </a:solidFill>
              </a:defRPr>
            </a:lvl7pPr>
            <a:lvl8pPr indent="0">
              <a:lnSpc>
                <a:spcPct val="100000"/>
              </a:lnSpc>
              <a:spcBef>
                <a:spcPts val="1600"/>
              </a:spcBef>
              <a:spcAft>
                <a:spcPts val="0"/>
              </a:spcAft>
              <a:defRPr sz="2000" b="1" i="0" cap="none" spc="0" baseline="0">
                <a:solidFill>
                  <a:schemeClr val="tx1">
                    <a:lumMod val="85000"/>
                    <a:lumOff val="15000"/>
                  </a:schemeClr>
                </a:solidFill>
              </a:defRPr>
            </a:lvl8pPr>
            <a:lvl9pPr indent="0">
              <a:lnSpc>
                <a:spcPct val="100000"/>
              </a:lnSpc>
              <a:spcBef>
                <a:spcPts val="1600"/>
              </a:spcBef>
              <a:spcAft>
                <a:spcPts val="0"/>
              </a:spcAft>
              <a:defRPr sz="2000" b="1" i="0" cap="none" spc="0" baseline="0">
                <a:solidFill>
                  <a:schemeClr val="tx1">
                    <a:lumMod val="85000"/>
                    <a:lumOff val="15000"/>
                  </a:schemeClr>
                </a:solidFill>
              </a:defRPr>
            </a:lvl9pPr>
          </a:lstStyle>
          <a:p>
            <a:pPr lvl="0"/>
            <a:r>
              <a:rPr lang="en-US" dirty="0"/>
              <a:t>Two quote layout.</a:t>
            </a:r>
          </a:p>
        </p:txBody>
      </p:sp>
      <p:grpSp>
        <p:nvGrpSpPr>
          <p:cNvPr id="7" name="Quote_Box">
            <a:extLst>
              <a:ext uri="{FF2B5EF4-FFF2-40B4-BE49-F238E27FC236}">
                <a16:creationId xmlns:a16="http://schemas.microsoft.com/office/drawing/2014/main" id="{9668343F-8517-4F28-87DB-A2A07E8FB7E8}"/>
              </a:ext>
            </a:extLst>
          </p:cNvPr>
          <p:cNvGrpSpPr>
            <a:grpSpLocks noChangeAspect="1"/>
          </p:cNvGrpSpPr>
          <p:nvPr userDrawn="1"/>
        </p:nvGrpSpPr>
        <p:grpSpPr>
          <a:xfrm>
            <a:off x="817112" y="1115459"/>
            <a:ext cx="509542" cy="509542"/>
            <a:chOff x="1127850" y="1457847"/>
            <a:chExt cx="648005" cy="648005"/>
          </a:xfrm>
        </p:grpSpPr>
        <p:sp>
          <p:nvSpPr>
            <p:cNvPr id="36" name="Quote_Box">
              <a:extLst>
                <a:ext uri="{FF2B5EF4-FFF2-40B4-BE49-F238E27FC236}">
                  <a16:creationId xmlns:a16="http://schemas.microsoft.com/office/drawing/2014/main" id="{42E56F5C-3AEB-4DE3-8888-7B24F0EA4953}"/>
                </a:ext>
              </a:extLst>
            </p:cNvPr>
            <p:cNvSpPr/>
            <p:nvPr userDrawn="1"/>
          </p:nvSpPr>
          <p:spPr>
            <a:xfrm>
              <a:off x="1127850" y="1457847"/>
              <a:ext cx="648005" cy="648005"/>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1300876" y="1648350"/>
              <a:ext cx="301952" cy="2377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5A5EF5EE-3B70-4DA9-9CA4-B61782592FBE}"/>
              </a:ext>
            </a:extLst>
          </p:cNvPr>
          <p:cNvSpPr>
            <a:spLocks noGrp="1"/>
          </p:cNvSpPr>
          <p:nvPr>
            <p:ph type="ftr" sz="quarter" idx="24"/>
          </p:nvPr>
        </p:nvSpPr>
        <p:spPr/>
        <p:txBody>
          <a:bodyPr/>
          <a:lstStyle/>
          <a:p>
            <a:r>
              <a:rPr lang="en-US"/>
              <a:t>Optional Title of the Presentation</a:t>
            </a:r>
            <a:endParaRPr lang="en-US" dirty="0"/>
          </a:p>
        </p:txBody>
      </p:sp>
      <p:sp>
        <p:nvSpPr>
          <p:cNvPr id="32" name="Slide Number">
            <a:extLst>
              <a:ext uri="{FF2B5EF4-FFF2-40B4-BE49-F238E27FC236}">
                <a16:creationId xmlns:a16="http://schemas.microsoft.com/office/drawing/2014/main" id="{FC713103-2866-494C-A53B-1AB3D87EEA7B}"/>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3" name="Logo">
            <a:extLst>
              <a:ext uri="{FF2B5EF4-FFF2-40B4-BE49-F238E27FC236}">
                <a16:creationId xmlns:a16="http://schemas.microsoft.com/office/drawing/2014/main" id="{CB047E31-151D-47D0-80D7-E717E2B69221}"/>
              </a:ext>
            </a:extLst>
          </p:cNvPr>
          <p:cNvGrpSpPr>
            <a:grpSpLocks noChangeAspect="1"/>
          </p:cNvGrpSpPr>
          <p:nvPr userDrawn="1"/>
        </p:nvGrpSpPr>
        <p:grpSpPr bwMode="black">
          <a:xfrm>
            <a:off x="428653" y="6447297"/>
            <a:ext cx="914400" cy="214552"/>
            <a:chOff x="1231901" y="5359401"/>
            <a:chExt cx="11210925" cy="2630487"/>
          </a:xfrm>
        </p:grpSpPr>
        <p:sp>
          <p:nvSpPr>
            <p:cNvPr id="34" name="Freeform 5">
              <a:extLst>
                <a:ext uri="{FF2B5EF4-FFF2-40B4-BE49-F238E27FC236}">
                  <a16:creationId xmlns:a16="http://schemas.microsoft.com/office/drawing/2014/main" id="{EEA3A2DC-1140-4EDC-B868-8D42AE958DD4}"/>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6">
              <a:extLst>
                <a:ext uri="{FF2B5EF4-FFF2-40B4-BE49-F238E27FC236}">
                  <a16:creationId xmlns:a16="http://schemas.microsoft.com/office/drawing/2014/main" id="{B821CE29-24BB-4400-BA45-0223522B7F77}"/>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56330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ree Quote">
    <p:bg>
      <p:bgPr>
        <a:solidFill>
          <a:schemeClr val="bg1"/>
        </a:solidFill>
        <a:effectLst/>
      </p:bgPr>
    </p:bg>
    <p:spTree>
      <p:nvGrpSpPr>
        <p:cNvPr id="1" name=""/>
        <p:cNvGrpSpPr/>
        <p:nvPr/>
      </p:nvGrpSpPr>
      <p:grpSpPr>
        <a:xfrm>
          <a:off x="0" y="0"/>
          <a:ext cx="0" cy="0"/>
          <a:chOff x="0" y="0"/>
          <a:chExt cx="0" cy="0"/>
        </a:xfrm>
      </p:grpSpPr>
      <p:sp>
        <p:nvSpPr>
          <p:cNvPr id="26" name="Texture">
            <a:extLst>
              <a:ext uri="{FF2B5EF4-FFF2-40B4-BE49-F238E27FC236}">
                <a16:creationId xmlns:a16="http://schemas.microsoft.com/office/drawing/2014/main" id="{3C95BE6E-96AD-4084-ACEE-7830A9F32631}"/>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110" name="Affiliation">
            <a:extLst>
              <a:ext uri="{FF2B5EF4-FFF2-40B4-BE49-F238E27FC236}">
                <a16:creationId xmlns:a16="http://schemas.microsoft.com/office/drawing/2014/main" id="{03391EED-1D97-47E6-8177-6C95A24711E4}"/>
              </a:ext>
            </a:extLst>
          </p:cNvPr>
          <p:cNvSpPr>
            <a:spLocks noGrp="1"/>
          </p:cNvSpPr>
          <p:nvPr>
            <p:ph type="body" sz="quarter" idx="24" hasCustomPrompt="1"/>
          </p:nvPr>
        </p:nvSpPr>
        <p:spPr>
          <a:xfrm>
            <a:off x="8127843"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11" name="Name">
            <a:extLst>
              <a:ext uri="{FF2B5EF4-FFF2-40B4-BE49-F238E27FC236}">
                <a16:creationId xmlns:a16="http://schemas.microsoft.com/office/drawing/2014/main" id="{F8ADE435-12F0-4A39-B8D8-C041290A994F}"/>
              </a:ext>
            </a:extLst>
          </p:cNvPr>
          <p:cNvSpPr>
            <a:spLocks noGrp="1"/>
          </p:cNvSpPr>
          <p:nvPr>
            <p:ph type="body" sz="quarter" idx="25" hasCustomPrompt="1"/>
          </p:nvPr>
        </p:nvSpPr>
        <p:spPr>
          <a:xfrm>
            <a:off x="8127843"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15" name="Text Placeholder 9">
            <a:extLst>
              <a:ext uri="{FF2B5EF4-FFF2-40B4-BE49-F238E27FC236}">
                <a16:creationId xmlns:a16="http://schemas.microsoft.com/office/drawing/2014/main" id="{F508999A-BE23-41E9-BBE2-1DC9042691E8}"/>
              </a:ext>
            </a:extLst>
          </p:cNvPr>
          <p:cNvSpPr>
            <a:spLocks noGrp="1"/>
          </p:cNvSpPr>
          <p:nvPr>
            <p:ph type="body" sz="quarter" idx="26" hasCustomPrompt="1"/>
          </p:nvPr>
        </p:nvSpPr>
        <p:spPr>
          <a:xfrm>
            <a:off x="812784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13" name="Quote_Box">
            <a:extLst>
              <a:ext uri="{FF2B5EF4-FFF2-40B4-BE49-F238E27FC236}">
                <a16:creationId xmlns:a16="http://schemas.microsoft.com/office/drawing/2014/main" id="{63E5C30B-475D-4271-B492-051282960614}"/>
              </a:ext>
            </a:extLst>
          </p:cNvPr>
          <p:cNvSpPr/>
          <p:nvPr userDrawn="1"/>
        </p:nvSpPr>
        <p:spPr>
          <a:xfrm>
            <a:off x="8127844"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14" name="Icon">
            <a:extLst>
              <a:ext uri="{FF2B5EF4-FFF2-40B4-BE49-F238E27FC236}">
                <a16:creationId xmlns:a16="http://schemas.microsoft.com/office/drawing/2014/main" id="{6207C573-4A51-45AB-8A2D-1B0EC0E0CF77}"/>
              </a:ext>
            </a:extLst>
          </p:cNvPr>
          <p:cNvSpPr>
            <a:spLocks noChangeAspect="1" noEditPoints="1"/>
          </p:cNvSpPr>
          <p:nvPr userDrawn="1"/>
        </p:nvSpPr>
        <p:spPr bwMode="auto">
          <a:xfrm>
            <a:off x="8263899"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104" name="Affiliation">
            <a:extLst>
              <a:ext uri="{FF2B5EF4-FFF2-40B4-BE49-F238E27FC236}">
                <a16:creationId xmlns:a16="http://schemas.microsoft.com/office/drawing/2014/main" id="{705559C5-878A-4763-8DD2-8E2E436F4B4A}"/>
              </a:ext>
            </a:extLst>
          </p:cNvPr>
          <p:cNvSpPr>
            <a:spLocks noGrp="1"/>
          </p:cNvSpPr>
          <p:nvPr userDrawn="1">
            <p:ph type="body" sz="quarter" idx="21" hasCustomPrompt="1"/>
          </p:nvPr>
        </p:nvSpPr>
        <p:spPr>
          <a:xfrm>
            <a:off x="4472940"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105" name="Name">
            <a:extLst>
              <a:ext uri="{FF2B5EF4-FFF2-40B4-BE49-F238E27FC236}">
                <a16:creationId xmlns:a16="http://schemas.microsoft.com/office/drawing/2014/main" id="{DF4D4582-8847-4F32-8324-0D3299EDB5AA}"/>
              </a:ext>
            </a:extLst>
          </p:cNvPr>
          <p:cNvSpPr>
            <a:spLocks noGrp="1"/>
          </p:cNvSpPr>
          <p:nvPr userDrawn="1">
            <p:ph type="body" sz="quarter" idx="22" hasCustomPrompt="1"/>
          </p:nvPr>
        </p:nvSpPr>
        <p:spPr>
          <a:xfrm>
            <a:off x="4472940"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9" name="Text Placeholder 9">
            <a:extLst>
              <a:ext uri="{FF2B5EF4-FFF2-40B4-BE49-F238E27FC236}">
                <a16:creationId xmlns:a16="http://schemas.microsoft.com/office/drawing/2014/main" id="{4097F5C6-326F-4898-9FB9-3FC9B0D6639A}"/>
              </a:ext>
            </a:extLst>
          </p:cNvPr>
          <p:cNvSpPr>
            <a:spLocks noGrp="1"/>
          </p:cNvSpPr>
          <p:nvPr userDrawn="1">
            <p:ph type="body" sz="quarter" idx="23" hasCustomPrompt="1"/>
          </p:nvPr>
        </p:nvSpPr>
        <p:spPr>
          <a:xfrm>
            <a:off x="4472940"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107" name="Quote_Box">
            <a:extLst>
              <a:ext uri="{FF2B5EF4-FFF2-40B4-BE49-F238E27FC236}">
                <a16:creationId xmlns:a16="http://schemas.microsoft.com/office/drawing/2014/main" id="{BBFBCDF7-264A-4503-9A4A-3935E8AFA293}"/>
              </a:ext>
            </a:extLst>
          </p:cNvPr>
          <p:cNvSpPr/>
          <p:nvPr userDrawn="1"/>
        </p:nvSpPr>
        <p:spPr>
          <a:xfrm>
            <a:off x="4471995"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108" name="Icon">
            <a:extLst>
              <a:ext uri="{FF2B5EF4-FFF2-40B4-BE49-F238E27FC236}">
                <a16:creationId xmlns:a16="http://schemas.microsoft.com/office/drawing/2014/main" id="{D21F579F-48BF-483D-8137-FE8CA23EA9A1}"/>
              </a:ext>
            </a:extLst>
          </p:cNvPr>
          <p:cNvSpPr>
            <a:spLocks noChangeAspect="1" noEditPoints="1"/>
          </p:cNvSpPr>
          <p:nvPr userDrawn="1"/>
        </p:nvSpPr>
        <p:spPr bwMode="auto">
          <a:xfrm>
            <a:off x="4608050"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lvl="0"/>
            <a:endParaRPr lang="en-US"/>
          </a:p>
        </p:txBody>
      </p:sp>
      <p:sp>
        <p:nvSpPr>
          <p:cNvPr id="9" name="Affiliation">
            <a:extLst>
              <a:ext uri="{FF2B5EF4-FFF2-40B4-BE49-F238E27FC236}">
                <a16:creationId xmlns:a16="http://schemas.microsoft.com/office/drawing/2014/main" id="{39EF96E8-8057-43E5-A862-D955F5E6F29D}"/>
              </a:ext>
            </a:extLst>
          </p:cNvPr>
          <p:cNvSpPr>
            <a:spLocks noGrp="1"/>
          </p:cNvSpPr>
          <p:nvPr userDrawn="1">
            <p:ph type="body" sz="quarter" idx="18" hasCustomPrompt="1"/>
          </p:nvPr>
        </p:nvSpPr>
        <p:spPr>
          <a:xfrm>
            <a:off x="817111" y="5110903"/>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65000"/>
                    <a:lumOff val="35000"/>
                  </a:schemeClr>
                </a:solidFill>
                <a:latin typeface="+mj-lt"/>
                <a:ea typeface="+mj-ea"/>
                <a:cs typeface="+mj-cs"/>
              </a:defRPr>
            </a:lvl1pPr>
          </a:lstStyle>
          <a:p>
            <a:pPr marL="182880" lvl="0" indent="-182880">
              <a:spcBef>
                <a:spcPct val="0"/>
              </a:spcBef>
            </a:pPr>
            <a:r>
              <a:rPr lang="en-US" dirty="0"/>
              <a:t>Title / Company Name</a:t>
            </a:r>
          </a:p>
        </p:txBody>
      </p:sp>
      <p:sp>
        <p:nvSpPr>
          <p:cNvPr id="8" name="Name">
            <a:extLst>
              <a:ext uri="{FF2B5EF4-FFF2-40B4-BE49-F238E27FC236}">
                <a16:creationId xmlns:a16="http://schemas.microsoft.com/office/drawing/2014/main" id="{B25ECA0C-C715-4AD0-9C0F-8BF3F52AAC6F}"/>
              </a:ext>
            </a:extLst>
          </p:cNvPr>
          <p:cNvSpPr>
            <a:spLocks noGrp="1"/>
          </p:cNvSpPr>
          <p:nvPr userDrawn="1">
            <p:ph type="body" sz="quarter" idx="15" hasCustomPrompt="1"/>
          </p:nvPr>
        </p:nvSpPr>
        <p:spPr>
          <a:xfrm>
            <a:off x="817112" y="4732338"/>
            <a:ext cx="3246120" cy="378565"/>
          </a:xfrm>
          <a:noFill/>
          <a:ln w="19050">
            <a:solidFill>
              <a:schemeClr val="tx1">
                <a:lumMod val="75000"/>
                <a:lumOff val="25000"/>
              </a:schemeClr>
            </a:solidFill>
            <a:miter lim="800000"/>
          </a:ln>
        </p:spPr>
        <p:txBody>
          <a:bodyPr vert="horz" wrap="square" lIns="182880" tIns="0" rIns="182880" bIns="0" rtlCol="0" anchor="ctr">
            <a:noAutofit/>
          </a:bodyPr>
          <a:lstStyle>
            <a:lvl1pPr marL="0" indent="0">
              <a:lnSpc>
                <a:spcPct val="100000"/>
              </a:lnSpc>
              <a:spcBef>
                <a:spcPts val="0"/>
              </a:spcBef>
              <a:buNone/>
              <a:defRPr lang="en-US" sz="14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Name</a:t>
            </a:r>
          </a:p>
        </p:txBody>
      </p:sp>
      <p:sp>
        <p:nvSpPr>
          <p:cNvPr id="10" name="Text Placeholder 9">
            <a:extLst>
              <a:ext uri="{FF2B5EF4-FFF2-40B4-BE49-F238E27FC236}">
                <a16:creationId xmlns:a16="http://schemas.microsoft.com/office/drawing/2014/main" id="{9BDF67FD-4532-4FF0-8E1C-EAC346BA1231}"/>
              </a:ext>
            </a:extLst>
          </p:cNvPr>
          <p:cNvSpPr>
            <a:spLocks noGrp="1"/>
          </p:cNvSpPr>
          <p:nvPr userDrawn="1">
            <p:ph type="body" sz="quarter" idx="20" hasCustomPrompt="1"/>
          </p:nvPr>
        </p:nvSpPr>
        <p:spPr>
          <a:xfrm>
            <a:off x="817112" y="1630264"/>
            <a:ext cx="3246120" cy="3102074"/>
          </a:xfrm>
          <a:ln w="19050">
            <a:solidFill>
              <a:schemeClr val="tx1">
                <a:lumMod val="75000"/>
                <a:lumOff val="25000"/>
              </a:schemeClr>
            </a:solidFill>
            <a:miter lim="800000"/>
          </a:ln>
        </p:spPr>
        <p:txBody>
          <a:bodyPr lIns="182880" tIns="182880" rIns="182880" bIns="182880">
            <a:noAutofit/>
          </a:bodyPr>
          <a:lstStyle>
            <a:lvl1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1pPr>
            <a:lvl2pPr marL="0" indent="0">
              <a:lnSpc>
                <a:spcPct val="90000"/>
              </a:lnSpc>
              <a:spcBef>
                <a:spcPts val="800"/>
              </a:spcBef>
              <a:spcAft>
                <a:spcPts val="0"/>
              </a:spcAft>
              <a:buFont typeface="Arial" panose="020B0604020202020204" pitchFamily="34" charset="0"/>
              <a:buNone/>
              <a:defRPr sz="1600" b="1" spc="0">
                <a:solidFill>
                  <a:schemeClr val="tx1">
                    <a:lumMod val="85000"/>
                    <a:lumOff val="15000"/>
                  </a:schemeClr>
                </a:solidFill>
              </a:defRPr>
            </a:lvl2pPr>
            <a:lvl3pPr marL="0" indent="0">
              <a:lnSpc>
                <a:spcPct val="90000"/>
              </a:lnSpc>
              <a:spcBef>
                <a:spcPts val="800"/>
              </a:spcBef>
              <a:spcAft>
                <a:spcPts val="0"/>
              </a:spcAft>
              <a:buFont typeface="Arial" panose="020B0604020202020204" pitchFamily="34" charset="0"/>
              <a:buChar char="​"/>
              <a:defRPr sz="1600" b="1" spc="0">
                <a:solidFill>
                  <a:schemeClr val="tx1">
                    <a:lumMod val="85000"/>
                    <a:lumOff val="15000"/>
                  </a:schemeClr>
                </a:solidFill>
              </a:defRPr>
            </a:lvl3pPr>
            <a:lvl4pPr>
              <a:lnSpc>
                <a:spcPct val="90000"/>
              </a:lnSpc>
              <a:spcBef>
                <a:spcPts val="800"/>
              </a:spcBef>
              <a:spcAft>
                <a:spcPts val="0"/>
              </a:spcAft>
              <a:defRPr sz="1600" b="1" cap="none" spc="0" baseline="0">
                <a:solidFill>
                  <a:schemeClr val="tx1">
                    <a:lumMod val="85000"/>
                    <a:lumOff val="15000"/>
                  </a:schemeClr>
                </a:solidFill>
              </a:defRPr>
            </a:lvl4pPr>
            <a:lvl5pPr>
              <a:lnSpc>
                <a:spcPct val="90000"/>
              </a:lnSpc>
              <a:spcBef>
                <a:spcPts val="800"/>
              </a:spcBef>
              <a:spcAft>
                <a:spcPts val="0"/>
              </a:spcAft>
              <a:defRPr sz="1600" b="1" spc="0">
                <a:solidFill>
                  <a:schemeClr val="tx1">
                    <a:lumMod val="85000"/>
                    <a:lumOff val="15000"/>
                  </a:schemeClr>
                </a:solidFill>
              </a:defRPr>
            </a:lvl5pPr>
            <a:lvl6pPr indent="0">
              <a:lnSpc>
                <a:spcPct val="90000"/>
              </a:lnSpc>
              <a:spcBef>
                <a:spcPts val="800"/>
              </a:spcBef>
              <a:spcAft>
                <a:spcPts val="0"/>
              </a:spcAft>
              <a:defRPr sz="1600" b="1" i="0" cap="none" spc="0" baseline="0">
                <a:solidFill>
                  <a:schemeClr val="tx1">
                    <a:lumMod val="85000"/>
                    <a:lumOff val="15000"/>
                  </a:schemeClr>
                </a:solidFill>
              </a:defRPr>
            </a:lvl6pPr>
            <a:lvl7pPr indent="0">
              <a:lnSpc>
                <a:spcPct val="90000"/>
              </a:lnSpc>
              <a:spcBef>
                <a:spcPts val="800"/>
              </a:spcBef>
              <a:spcAft>
                <a:spcPts val="0"/>
              </a:spcAft>
              <a:defRPr sz="1600" b="1" i="0" cap="none" spc="0" baseline="0">
                <a:solidFill>
                  <a:schemeClr val="tx1">
                    <a:lumMod val="85000"/>
                    <a:lumOff val="15000"/>
                  </a:schemeClr>
                </a:solidFill>
              </a:defRPr>
            </a:lvl7pPr>
            <a:lvl8pPr indent="0">
              <a:lnSpc>
                <a:spcPct val="90000"/>
              </a:lnSpc>
              <a:spcBef>
                <a:spcPts val="800"/>
              </a:spcBef>
              <a:spcAft>
                <a:spcPts val="0"/>
              </a:spcAft>
              <a:defRPr sz="1600" b="1" i="0" cap="none" spc="0" baseline="0">
                <a:solidFill>
                  <a:schemeClr val="tx1">
                    <a:lumMod val="85000"/>
                    <a:lumOff val="15000"/>
                  </a:schemeClr>
                </a:solidFill>
              </a:defRPr>
            </a:lvl8pPr>
            <a:lvl9pPr indent="0">
              <a:lnSpc>
                <a:spcPct val="90000"/>
              </a:lnSpc>
              <a:spcBef>
                <a:spcPts val="800"/>
              </a:spcBef>
              <a:spcAft>
                <a:spcPts val="0"/>
              </a:spcAft>
              <a:defRPr sz="1600" b="1" i="0" cap="none" spc="0" baseline="0">
                <a:solidFill>
                  <a:schemeClr val="tx1">
                    <a:lumMod val="85000"/>
                    <a:lumOff val="15000"/>
                  </a:schemeClr>
                </a:solidFill>
              </a:defRPr>
            </a:lvl9pPr>
          </a:lstStyle>
          <a:p>
            <a:pPr lvl="0"/>
            <a:r>
              <a:rPr lang="en-US" dirty="0"/>
              <a:t>Three quote layout.</a:t>
            </a:r>
          </a:p>
        </p:txBody>
      </p:sp>
      <p:sp>
        <p:nvSpPr>
          <p:cNvPr id="36" name="Quote_Box">
            <a:extLst>
              <a:ext uri="{FF2B5EF4-FFF2-40B4-BE49-F238E27FC236}">
                <a16:creationId xmlns:a16="http://schemas.microsoft.com/office/drawing/2014/main" id="{42E56F5C-3AEB-4DE3-8888-7B24F0EA4953}"/>
              </a:ext>
            </a:extLst>
          </p:cNvPr>
          <p:cNvSpPr/>
          <p:nvPr userDrawn="1"/>
        </p:nvSpPr>
        <p:spPr>
          <a:xfrm>
            <a:off x="817112" y="1115459"/>
            <a:ext cx="509542" cy="509542"/>
          </a:xfrm>
          <a:prstGeom prst="rect">
            <a:avLst/>
          </a:prstGeom>
          <a:solidFill>
            <a:schemeClr val="tx1">
              <a:lumMod val="85000"/>
              <a:lumOff val="15000"/>
            </a:schemeClr>
          </a:solidFill>
          <a:ln w="19050">
            <a:solidFill>
              <a:schemeClr val="tx1">
                <a:lumMod val="75000"/>
                <a:lumOff val="25000"/>
              </a:schemeClr>
            </a:solidFill>
            <a:miter lim="800000"/>
          </a:ln>
        </p:spPr>
        <p:txBody>
          <a:bodyPr vert="horz" wrap="square" lIns="0" tIns="137160" rIns="0" bIns="137160" rtlCol="0" anchor="ctr">
            <a:noAutofit/>
          </a:bodyPr>
          <a:lstStyle/>
          <a:p>
            <a:pPr marL="285750" lvl="0" indent="-285750" algn="ctr" defTabSz="914400">
              <a:lnSpc>
                <a:spcPct val="90000"/>
              </a:lnSpc>
              <a:spcBef>
                <a:spcPct val="0"/>
              </a:spcBef>
              <a:buFont typeface="Arial" panose="020B0604020202020204" pitchFamily="34" charset="0"/>
              <a:buNone/>
            </a:pPr>
            <a:endParaRPr lang="en-US" sz="3200" b="1" i="0" cap="all" spc="60" baseline="0" dirty="0">
              <a:solidFill>
                <a:schemeClr val="accent2"/>
              </a:solidFill>
              <a:latin typeface="+mj-lt"/>
              <a:ea typeface="+mj-ea"/>
              <a:cs typeface="+mj-cs"/>
            </a:endParaRPr>
          </a:p>
        </p:txBody>
      </p:sp>
      <p:sp>
        <p:nvSpPr>
          <p:cNvPr id="6" name="Icon">
            <a:extLst>
              <a:ext uri="{FF2B5EF4-FFF2-40B4-BE49-F238E27FC236}">
                <a16:creationId xmlns:a16="http://schemas.microsoft.com/office/drawing/2014/main" id="{3DF19E5B-CFF4-45C8-B61A-F63CA122FB99}"/>
              </a:ext>
            </a:extLst>
          </p:cNvPr>
          <p:cNvSpPr>
            <a:spLocks noChangeAspect="1" noEditPoints="1"/>
          </p:cNvSpPr>
          <p:nvPr userDrawn="1"/>
        </p:nvSpPr>
        <p:spPr bwMode="auto">
          <a:xfrm>
            <a:off x="953167" y="1265256"/>
            <a:ext cx="237432" cy="186944"/>
          </a:xfrm>
          <a:custGeom>
            <a:avLst/>
            <a:gdLst>
              <a:gd name="T0" fmla="*/ 214 w 589"/>
              <a:gd name="T1" fmla="*/ 464 h 464"/>
              <a:gd name="T2" fmla="*/ 0 w 589"/>
              <a:gd name="T3" fmla="*/ 464 h 464"/>
              <a:gd name="T4" fmla="*/ 0 w 589"/>
              <a:gd name="T5" fmla="*/ 310 h 464"/>
              <a:gd name="T6" fmla="*/ 17 w 589"/>
              <a:gd name="T7" fmla="*/ 164 h 464"/>
              <a:gd name="T8" fmla="*/ 77 w 589"/>
              <a:gd name="T9" fmla="*/ 67 h 464"/>
              <a:gd name="T10" fmla="*/ 190 w 589"/>
              <a:gd name="T11" fmla="*/ 0 h 464"/>
              <a:gd name="T12" fmla="*/ 232 w 589"/>
              <a:gd name="T13" fmla="*/ 88 h 464"/>
              <a:gd name="T14" fmla="*/ 140 w 589"/>
              <a:gd name="T15" fmla="*/ 148 h 464"/>
              <a:gd name="T16" fmla="*/ 111 w 589"/>
              <a:gd name="T17" fmla="*/ 249 h 464"/>
              <a:gd name="T18" fmla="*/ 214 w 589"/>
              <a:gd name="T19" fmla="*/ 249 h 464"/>
              <a:gd name="T20" fmla="*/ 214 w 589"/>
              <a:gd name="T21" fmla="*/ 464 h 464"/>
              <a:gd name="T22" fmla="*/ 572 w 589"/>
              <a:gd name="T23" fmla="*/ 464 h 464"/>
              <a:gd name="T24" fmla="*/ 358 w 589"/>
              <a:gd name="T25" fmla="*/ 464 h 464"/>
              <a:gd name="T26" fmla="*/ 358 w 589"/>
              <a:gd name="T27" fmla="*/ 310 h 464"/>
              <a:gd name="T28" fmla="*/ 374 w 589"/>
              <a:gd name="T29" fmla="*/ 163 h 464"/>
              <a:gd name="T30" fmla="*/ 435 w 589"/>
              <a:gd name="T31" fmla="*/ 67 h 464"/>
              <a:gd name="T32" fmla="*/ 548 w 589"/>
              <a:gd name="T33" fmla="*/ 0 h 464"/>
              <a:gd name="T34" fmla="*/ 589 w 589"/>
              <a:gd name="T35" fmla="*/ 88 h 464"/>
              <a:gd name="T36" fmla="*/ 498 w 589"/>
              <a:gd name="T37" fmla="*/ 148 h 464"/>
              <a:gd name="T38" fmla="*/ 468 w 589"/>
              <a:gd name="T39" fmla="*/ 249 h 464"/>
              <a:gd name="T40" fmla="*/ 572 w 589"/>
              <a:gd name="T41" fmla="*/ 249 h 464"/>
              <a:gd name="T42" fmla="*/ 572 w 589"/>
              <a:gd name="T43" fmla="*/ 4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89" h="464">
                <a:moveTo>
                  <a:pt x="214" y="464"/>
                </a:moveTo>
                <a:cubicBezTo>
                  <a:pt x="0" y="464"/>
                  <a:pt x="0" y="464"/>
                  <a:pt x="0" y="464"/>
                </a:cubicBezTo>
                <a:cubicBezTo>
                  <a:pt x="0" y="310"/>
                  <a:pt x="0" y="310"/>
                  <a:pt x="0" y="310"/>
                </a:cubicBezTo>
                <a:cubicBezTo>
                  <a:pt x="0" y="248"/>
                  <a:pt x="6" y="199"/>
                  <a:pt x="17" y="164"/>
                </a:cubicBezTo>
                <a:cubicBezTo>
                  <a:pt x="28" y="128"/>
                  <a:pt x="48" y="96"/>
                  <a:pt x="77" y="67"/>
                </a:cubicBezTo>
                <a:cubicBezTo>
                  <a:pt x="107" y="39"/>
                  <a:pt x="144" y="16"/>
                  <a:pt x="190" y="0"/>
                </a:cubicBezTo>
                <a:cubicBezTo>
                  <a:pt x="232" y="88"/>
                  <a:pt x="232" y="88"/>
                  <a:pt x="232" y="88"/>
                </a:cubicBezTo>
                <a:cubicBezTo>
                  <a:pt x="189" y="103"/>
                  <a:pt x="159" y="123"/>
                  <a:pt x="140" y="148"/>
                </a:cubicBezTo>
                <a:cubicBezTo>
                  <a:pt x="122" y="173"/>
                  <a:pt x="112" y="207"/>
                  <a:pt x="111" y="249"/>
                </a:cubicBezTo>
                <a:cubicBezTo>
                  <a:pt x="214" y="249"/>
                  <a:pt x="214" y="249"/>
                  <a:pt x="214" y="249"/>
                </a:cubicBezTo>
                <a:lnTo>
                  <a:pt x="214" y="464"/>
                </a:lnTo>
                <a:close/>
                <a:moveTo>
                  <a:pt x="572" y="464"/>
                </a:moveTo>
                <a:cubicBezTo>
                  <a:pt x="358" y="464"/>
                  <a:pt x="358" y="464"/>
                  <a:pt x="358" y="464"/>
                </a:cubicBezTo>
                <a:cubicBezTo>
                  <a:pt x="358" y="310"/>
                  <a:pt x="358" y="310"/>
                  <a:pt x="358" y="310"/>
                </a:cubicBezTo>
                <a:cubicBezTo>
                  <a:pt x="358" y="248"/>
                  <a:pt x="363" y="199"/>
                  <a:pt x="374" y="163"/>
                </a:cubicBezTo>
                <a:cubicBezTo>
                  <a:pt x="385" y="128"/>
                  <a:pt x="405" y="96"/>
                  <a:pt x="435" y="67"/>
                </a:cubicBezTo>
                <a:cubicBezTo>
                  <a:pt x="465" y="39"/>
                  <a:pt x="502" y="16"/>
                  <a:pt x="548" y="0"/>
                </a:cubicBezTo>
                <a:cubicBezTo>
                  <a:pt x="589" y="88"/>
                  <a:pt x="589" y="88"/>
                  <a:pt x="589" y="88"/>
                </a:cubicBezTo>
                <a:cubicBezTo>
                  <a:pt x="547" y="103"/>
                  <a:pt x="516" y="123"/>
                  <a:pt x="498" y="148"/>
                </a:cubicBezTo>
                <a:cubicBezTo>
                  <a:pt x="479" y="173"/>
                  <a:pt x="469" y="207"/>
                  <a:pt x="468" y="249"/>
                </a:cubicBezTo>
                <a:cubicBezTo>
                  <a:pt x="572" y="249"/>
                  <a:pt x="572" y="249"/>
                  <a:pt x="572" y="249"/>
                </a:cubicBezTo>
                <a:lnTo>
                  <a:pt x="572" y="46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Footer Placeholder 1">
            <a:extLst>
              <a:ext uri="{FF2B5EF4-FFF2-40B4-BE49-F238E27FC236}">
                <a16:creationId xmlns:a16="http://schemas.microsoft.com/office/drawing/2014/main" id="{0809D31E-8183-451E-99A7-97F7D20575CB}"/>
              </a:ext>
            </a:extLst>
          </p:cNvPr>
          <p:cNvSpPr>
            <a:spLocks noGrp="1"/>
          </p:cNvSpPr>
          <p:nvPr userDrawn="1">
            <p:ph type="ftr" sz="quarter" idx="27"/>
          </p:nvPr>
        </p:nvSpPr>
        <p:spPr/>
        <p:txBody>
          <a:bodyPr/>
          <a:lstStyle/>
          <a:p>
            <a:r>
              <a:rPr lang="en-US"/>
              <a:t>Optional Title of the Presentation</a:t>
            </a:r>
            <a:endParaRPr lang="en-US" dirty="0"/>
          </a:p>
        </p:txBody>
      </p:sp>
      <p:sp>
        <p:nvSpPr>
          <p:cNvPr id="37" name="Slide Number">
            <a:extLst>
              <a:ext uri="{FF2B5EF4-FFF2-40B4-BE49-F238E27FC236}">
                <a16:creationId xmlns:a16="http://schemas.microsoft.com/office/drawing/2014/main" id="{64FA7F3B-629E-4994-9D8D-543F3F50EDAD}"/>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38" name="Logo">
            <a:extLst>
              <a:ext uri="{FF2B5EF4-FFF2-40B4-BE49-F238E27FC236}">
                <a16:creationId xmlns:a16="http://schemas.microsoft.com/office/drawing/2014/main" id="{8D803CD8-0215-4AF5-8112-85A0C960BE0A}"/>
              </a:ext>
            </a:extLst>
          </p:cNvPr>
          <p:cNvGrpSpPr>
            <a:grpSpLocks noChangeAspect="1"/>
          </p:cNvGrpSpPr>
          <p:nvPr userDrawn="1"/>
        </p:nvGrpSpPr>
        <p:grpSpPr bwMode="black">
          <a:xfrm>
            <a:off x="428653" y="6447297"/>
            <a:ext cx="914400" cy="214552"/>
            <a:chOff x="1231901" y="5359401"/>
            <a:chExt cx="11210925" cy="2630487"/>
          </a:xfrm>
        </p:grpSpPr>
        <p:sp>
          <p:nvSpPr>
            <p:cNvPr id="39" name="Freeform 5">
              <a:extLst>
                <a:ext uri="{FF2B5EF4-FFF2-40B4-BE49-F238E27FC236}">
                  <a16:creationId xmlns:a16="http://schemas.microsoft.com/office/drawing/2014/main" id="{1FE609AA-87CA-4AAA-86B8-3A5F58ED1C2E}"/>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6">
              <a:extLst>
                <a:ext uri="{FF2B5EF4-FFF2-40B4-BE49-F238E27FC236}">
                  <a16:creationId xmlns:a16="http://schemas.microsoft.com/office/drawing/2014/main" id="{0A9110DB-3204-4593-B863-F03340BAE92A}"/>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479919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Large Statement">
    <p:bg>
      <p:bgPr>
        <a:solidFill>
          <a:schemeClr val="bg1"/>
        </a:solidFill>
        <a:effectLst/>
      </p:bgPr>
    </p:bg>
    <p:spTree>
      <p:nvGrpSpPr>
        <p:cNvPr id="1" name=""/>
        <p:cNvGrpSpPr/>
        <p:nvPr/>
      </p:nvGrpSpPr>
      <p:grpSpPr>
        <a:xfrm>
          <a:off x="0" y="0"/>
          <a:ext cx="0" cy="0"/>
          <a:chOff x="0" y="0"/>
          <a:chExt cx="0" cy="0"/>
        </a:xfrm>
      </p:grpSpPr>
      <p:sp>
        <p:nvSpPr>
          <p:cNvPr id="3" name="Texture">
            <a:extLst>
              <a:ext uri="{FF2B5EF4-FFF2-40B4-BE49-F238E27FC236}">
                <a16:creationId xmlns:a16="http://schemas.microsoft.com/office/drawing/2014/main" id="{1E4985FC-C4A1-4C4E-9D8B-E1EF235D555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2" name="Title">
            <a:extLst>
              <a:ext uri="{FF2B5EF4-FFF2-40B4-BE49-F238E27FC236}">
                <a16:creationId xmlns:a16="http://schemas.microsoft.com/office/drawing/2014/main" id="{C54FD730-BB81-4C20-B6E9-3E0B048CAC1C}"/>
              </a:ext>
            </a:extLst>
          </p:cNvPr>
          <p:cNvSpPr>
            <a:spLocks noGrp="1"/>
          </p:cNvSpPr>
          <p:nvPr>
            <p:ph type="title" hasCustomPrompt="1"/>
          </p:nvPr>
        </p:nvSpPr>
        <p:spPr>
          <a:xfrm>
            <a:off x="449202" y="1463040"/>
            <a:ext cx="11292840" cy="3785616"/>
          </a:xfrm>
        </p:spPr>
        <p:txBody>
          <a:bodyPr anchor="ctr"/>
          <a:lstStyle>
            <a:lvl1pPr algn="ctr">
              <a:lnSpc>
                <a:spcPct val="90000"/>
              </a:lnSpc>
              <a:defRPr lang="en-US" sz="4400" b="1" kern="1200" dirty="0">
                <a:solidFill>
                  <a:schemeClr val="tx1">
                    <a:lumMod val="85000"/>
                    <a:lumOff val="15000"/>
                  </a:schemeClr>
                </a:solidFill>
                <a:latin typeface="+mj-lt"/>
                <a:ea typeface="+mj-ea"/>
                <a:cs typeface="+mj-cs"/>
              </a:defRPr>
            </a:lvl1pPr>
          </a:lstStyle>
          <a:p>
            <a:pPr lvl="0" algn="ctr" defTabSz="914400" rtl="0" eaLnBrk="1" latinLnBrk="0" hangingPunct="1">
              <a:lnSpc>
                <a:spcPct val="90000"/>
              </a:lnSpc>
              <a:spcBef>
                <a:spcPct val="0"/>
              </a:spcBef>
              <a:buNone/>
            </a:pPr>
            <a:r>
              <a:rPr lang="en-US" dirty="0"/>
              <a:t>Large statement layout.</a:t>
            </a:r>
          </a:p>
        </p:txBody>
      </p:sp>
      <p:sp>
        <p:nvSpPr>
          <p:cNvPr id="15" name="Footer Placeholder 14">
            <a:extLst>
              <a:ext uri="{FF2B5EF4-FFF2-40B4-BE49-F238E27FC236}">
                <a16:creationId xmlns:a16="http://schemas.microsoft.com/office/drawing/2014/main" id="{9D9AE906-1DB3-4285-A68A-0F8B8AC97CA4}"/>
              </a:ext>
            </a:extLst>
          </p:cNvPr>
          <p:cNvSpPr>
            <a:spLocks noGrp="1"/>
          </p:cNvSpPr>
          <p:nvPr>
            <p:ph type="ftr" sz="quarter" idx="10"/>
          </p:nvPr>
        </p:nvSpPr>
        <p:spPr/>
        <p:txBody>
          <a:bodyPr/>
          <a:lstStyle/>
          <a:p>
            <a:r>
              <a:rPr lang="en-US"/>
              <a:t>Optional Title of the Presentation</a:t>
            </a:r>
            <a:endParaRPr lang="en-US" dirty="0"/>
          </a:p>
        </p:txBody>
      </p:sp>
      <p:sp>
        <p:nvSpPr>
          <p:cNvPr id="16" name="Slide Number">
            <a:extLst>
              <a:ext uri="{FF2B5EF4-FFF2-40B4-BE49-F238E27FC236}">
                <a16:creationId xmlns:a16="http://schemas.microsoft.com/office/drawing/2014/main" id="{27E814A0-99D6-40C5-A745-5C658684C0F9}"/>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7" name="Logo">
            <a:extLst>
              <a:ext uri="{FF2B5EF4-FFF2-40B4-BE49-F238E27FC236}">
                <a16:creationId xmlns:a16="http://schemas.microsoft.com/office/drawing/2014/main" id="{CBA27C52-51B0-46E5-A354-FDA0C0E69C96}"/>
              </a:ext>
            </a:extLst>
          </p:cNvPr>
          <p:cNvGrpSpPr>
            <a:grpSpLocks noChangeAspect="1"/>
          </p:cNvGrpSpPr>
          <p:nvPr userDrawn="1"/>
        </p:nvGrpSpPr>
        <p:grpSpPr bwMode="black">
          <a:xfrm>
            <a:off x="428653" y="6447297"/>
            <a:ext cx="914400" cy="214552"/>
            <a:chOff x="1231901" y="5359401"/>
            <a:chExt cx="11210925" cy="2630487"/>
          </a:xfrm>
        </p:grpSpPr>
        <p:sp>
          <p:nvSpPr>
            <p:cNvPr id="18" name="Freeform 5">
              <a:extLst>
                <a:ext uri="{FF2B5EF4-FFF2-40B4-BE49-F238E27FC236}">
                  <a16:creationId xmlns:a16="http://schemas.microsoft.com/office/drawing/2014/main" id="{0AE504F3-CE1B-4FFA-90CB-0DB30ADE04CC}"/>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6">
              <a:extLst>
                <a:ext uri="{FF2B5EF4-FFF2-40B4-BE49-F238E27FC236}">
                  <a16:creationId xmlns:a16="http://schemas.microsoft.com/office/drawing/2014/main" id="{47EEFBCB-3E60-4B8E-989D-3A4D50513D24}"/>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220097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1D815A8-0624-4A10-B1F3-C19B0E2331BC}"/>
              </a:ext>
            </a:extLst>
          </p:cNvPr>
          <p:cNvSpPr>
            <a:spLocks noGrp="1"/>
          </p:cNvSpPr>
          <p:nvPr>
            <p:ph type="ftr" sz="quarter" idx="10"/>
          </p:nvPr>
        </p:nvSpPr>
        <p:spPr/>
        <p:txBody>
          <a:bodyPr/>
          <a:lstStyle/>
          <a:p>
            <a:r>
              <a:rPr lang="en-US"/>
              <a:t>Optional Title of the Presentation</a:t>
            </a:r>
            <a:endParaRPr lang="en-US" dirty="0"/>
          </a:p>
        </p:txBody>
      </p:sp>
    </p:spTree>
    <p:extLst>
      <p:ext uri="{BB962C8B-B14F-4D97-AF65-F5344CB8AC3E}">
        <p14:creationId xmlns:p14="http://schemas.microsoft.com/office/powerpoint/2010/main" val="10409984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ogo End Slide">
    <p:bg>
      <p:bgPr>
        <a:solidFill>
          <a:schemeClr val="bg1"/>
        </a:solidFill>
        <a:effectLst/>
      </p:bgPr>
    </p:bg>
    <p:spTree>
      <p:nvGrpSpPr>
        <p:cNvPr id="1" name=""/>
        <p:cNvGrpSpPr/>
        <p:nvPr/>
      </p:nvGrpSpPr>
      <p:grpSpPr>
        <a:xfrm>
          <a:off x="0" y="0"/>
          <a:ext cx="0" cy="0"/>
          <a:chOff x="0" y="0"/>
          <a:chExt cx="0" cy="0"/>
        </a:xfrm>
      </p:grpSpPr>
      <p:sp>
        <p:nvSpPr>
          <p:cNvPr id="13" name="Texture">
            <a:extLst>
              <a:ext uri="{FF2B5EF4-FFF2-40B4-BE49-F238E27FC236}">
                <a16:creationId xmlns:a16="http://schemas.microsoft.com/office/drawing/2014/main" id="{F2D524AB-E282-4686-B58B-641438DC9BED}"/>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6" name="Oval 5">
            <a:extLst>
              <a:ext uri="{FF2B5EF4-FFF2-40B4-BE49-F238E27FC236}">
                <a16:creationId xmlns:a16="http://schemas.microsoft.com/office/drawing/2014/main" id="{BBD298B8-A731-40B0-A82D-73E38F5E3C48}"/>
              </a:ext>
            </a:extLst>
          </p:cNvPr>
          <p:cNvSpPr/>
          <p:nvPr userDrawn="1"/>
        </p:nvSpPr>
        <p:spPr>
          <a:xfrm>
            <a:off x="2990868" y="1895475"/>
            <a:ext cx="6496032" cy="2883030"/>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8" name="Logo">
            <a:extLst>
              <a:ext uri="{FF2B5EF4-FFF2-40B4-BE49-F238E27FC236}">
                <a16:creationId xmlns:a16="http://schemas.microsoft.com/office/drawing/2014/main" id="{077A18B9-3018-42E0-8877-4E494677B9EC}"/>
              </a:ext>
            </a:extLst>
          </p:cNvPr>
          <p:cNvGrpSpPr>
            <a:grpSpLocks noChangeAspect="1"/>
          </p:cNvGrpSpPr>
          <p:nvPr userDrawn="1"/>
        </p:nvGrpSpPr>
        <p:grpSpPr bwMode="black">
          <a:xfrm>
            <a:off x="3757744" y="2807676"/>
            <a:ext cx="4676512" cy="1097280"/>
            <a:chOff x="1231901" y="5359401"/>
            <a:chExt cx="11210925" cy="2630487"/>
          </a:xfrm>
        </p:grpSpPr>
        <p:sp>
          <p:nvSpPr>
            <p:cNvPr id="9" name="Freeform 5">
              <a:extLst>
                <a:ext uri="{FF2B5EF4-FFF2-40B4-BE49-F238E27FC236}">
                  <a16:creationId xmlns:a16="http://schemas.microsoft.com/office/drawing/2014/main" id="{66A3BF12-9A81-464B-8E0D-17C715D2D57B}"/>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5C73C4CA-E0CE-41EC-A841-98AAB5DA8551}"/>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133441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ID">
    <p:spTree>
      <p:nvGrpSpPr>
        <p:cNvPr id="1" name=""/>
        <p:cNvGrpSpPr/>
        <p:nvPr/>
      </p:nvGrpSpPr>
      <p:grpSpPr>
        <a:xfrm>
          <a:off x="0" y="0"/>
          <a:ext cx="0" cy="0"/>
          <a:chOff x="0" y="0"/>
          <a:chExt cx="0" cy="0"/>
        </a:xfrm>
      </p:grpSpPr>
      <p:grpSp>
        <p:nvGrpSpPr>
          <p:cNvPr id="89" name="GRID">
            <a:extLst>
              <a:ext uri="{FF2B5EF4-FFF2-40B4-BE49-F238E27FC236}">
                <a16:creationId xmlns:a16="http://schemas.microsoft.com/office/drawing/2014/main" id="{B01B4ED1-11E6-4650-B725-EC73B57E4A24}"/>
              </a:ext>
            </a:extLst>
          </p:cNvPr>
          <p:cNvGrpSpPr/>
          <p:nvPr userDrawn="1"/>
        </p:nvGrpSpPr>
        <p:grpSpPr>
          <a:xfrm>
            <a:off x="0" y="-1"/>
            <a:ext cx="12192000" cy="6858001"/>
            <a:chOff x="0" y="-1"/>
            <a:chExt cx="12192000" cy="6858001"/>
          </a:xfrm>
        </p:grpSpPr>
        <p:grpSp>
          <p:nvGrpSpPr>
            <p:cNvPr id="90" name="5-Columns">
              <a:extLst>
                <a:ext uri="{FF2B5EF4-FFF2-40B4-BE49-F238E27FC236}">
                  <a16:creationId xmlns:a16="http://schemas.microsoft.com/office/drawing/2014/main" id="{7FDABA8A-9F63-4CB3-AD6D-E3081FE4A134}"/>
                </a:ext>
              </a:extLst>
            </p:cNvPr>
            <p:cNvGrpSpPr/>
            <p:nvPr userDrawn="1"/>
          </p:nvGrpSpPr>
          <p:grpSpPr>
            <a:xfrm>
              <a:off x="457196" y="6369995"/>
              <a:ext cx="11284638" cy="66775"/>
              <a:chOff x="457196" y="6369995"/>
              <a:chExt cx="11284638" cy="66775"/>
            </a:xfrm>
            <a:solidFill>
              <a:schemeClr val="accent1">
                <a:lumMod val="40000"/>
                <a:lumOff val="60000"/>
                <a:alpha val="35000"/>
              </a:schemeClr>
            </a:solidFill>
          </p:grpSpPr>
          <p:sp>
            <p:nvSpPr>
              <p:cNvPr id="240" name="Rectangle 239">
                <a:extLst>
                  <a:ext uri="{FF2B5EF4-FFF2-40B4-BE49-F238E27FC236}">
                    <a16:creationId xmlns:a16="http://schemas.microsoft.com/office/drawing/2014/main" id="{EB8CCE06-2803-4BC4-8F52-8C22514AAC92}"/>
                  </a:ext>
                </a:extLst>
              </p:cNvPr>
              <p:cNvSpPr>
                <a:spLocks/>
              </p:cNvSpPr>
              <p:nvPr/>
            </p:nvSpPr>
            <p:spPr>
              <a:xfrm>
                <a:off x="457196"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1" name="Rectangle 240">
                <a:extLst>
                  <a:ext uri="{FF2B5EF4-FFF2-40B4-BE49-F238E27FC236}">
                    <a16:creationId xmlns:a16="http://schemas.microsoft.com/office/drawing/2014/main" id="{EFEE6688-BF23-4A0F-B580-67F2EB80DFBB}"/>
                  </a:ext>
                </a:extLst>
              </p:cNvPr>
              <p:cNvSpPr>
                <a:spLocks/>
              </p:cNvSpPr>
              <p:nvPr/>
            </p:nvSpPr>
            <p:spPr>
              <a:xfrm>
                <a:off x="2757020"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2" name="Rectangle 241">
                <a:extLst>
                  <a:ext uri="{FF2B5EF4-FFF2-40B4-BE49-F238E27FC236}">
                    <a16:creationId xmlns:a16="http://schemas.microsoft.com/office/drawing/2014/main" id="{0867ECC9-01B8-4FD0-AA00-DB2A4DF6D450}"/>
                  </a:ext>
                </a:extLst>
              </p:cNvPr>
              <p:cNvSpPr>
                <a:spLocks/>
              </p:cNvSpPr>
              <p:nvPr/>
            </p:nvSpPr>
            <p:spPr>
              <a:xfrm>
                <a:off x="5056844"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3" name="Rectangle 242">
                <a:extLst>
                  <a:ext uri="{FF2B5EF4-FFF2-40B4-BE49-F238E27FC236}">
                    <a16:creationId xmlns:a16="http://schemas.microsoft.com/office/drawing/2014/main" id="{0F74219B-904B-4014-A041-38C261EB95B2}"/>
                  </a:ext>
                </a:extLst>
              </p:cNvPr>
              <p:cNvSpPr>
                <a:spLocks/>
              </p:cNvSpPr>
              <p:nvPr/>
            </p:nvSpPr>
            <p:spPr>
              <a:xfrm>
                <a:off x="7356668"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44" name="Rectangle 243">
                <a:extLst>
                  <a:ext uri="{FF2B5EF4-FFF2-40B4-BE49-F238E27FC236}">
                    <a16:creationId xmlns:a16="http://schemas.microsoft.com/office/drawing/2014/main" id="{D37F15D0-DE02-4884-B44D-921B5400706E}"/>
                  </a:ext>
                </a:extLst>
              </p:cNvPr>
              <p:cNvSpPr>
                <a:spLocks/>
              </p:cNvSpPr>
              <p:nvPr/>
            </p:nvSpPr>
            <p:spPr>
              <a:xfrm>
                <a:off x="9656491" y="6369995"/>
                <a:ext cx="2085343" cy="66775"/>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1" name="Columns">
              <a:extLst>
                <a:ext uri="{FF2B5EF4-FFF2-40B4-BE49-F238E27FC236}">
                  <a16:creationId xmlns:a16="http://schemas.microsoft.com/office/drawing/2014/main" id="{CA147F0F-2720-4D14-BF12-11A0E876C4F5}"/>
                </a:ext>
              </a:extLst>
            </p:cNvPr>
            <p:cNvGrpSpPr/>
            <p:nvPr userDrawn="1"/>
          </p:nvGrpSpPr>
          <p:grpSpPr>
            <a:xfrm>
              <a:off x="450165" y="422030"/>
              <a:ext cx="11291670" cy="5868573"/>
              <a:chOff x="450165" y="422030"/>
              <a:chExt cx="11291670" cy="5868573"/>
            </a:xfrm>
            <a:solidFill>
              <a:schemeClr val="accent1">
                <a:lumMod val="40000"/>
                <a:lumOff val="60000"/>
                <a:alpha val="20000"/>
              </a:schemeClr>
            </a:solidFill>
          </p:grpSpPr>
          <p:sp>
            <p:nvSpPr>
              <p:cNvPr id="228" name="Rectangle 227">
                <a:extLst>
                  <a:ext uri="{FF2B5EF4-FFF2-40B4-BE49-F238E27FC236}">
                    <a16:creationId xmlns:a16="http://schemas.microsoft.com/office/drawing/2014/main" id="{9751839D-CEC1-45BE-9708-DAA3CE5F6894}"/>
                  </a:ext>
                </a:extLst>
              </p:cNvPr>
              <p:cNvSpPr>
                <a:spLocks/>
              </p:cNvSpPr>
              <p:nvPr/>
            </p:nvSpPr>
            <p:spPr>
              <a:xfrm>
                <a:off x="4501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29" name="Rectangle 228">
                <a:extLst>
                  <a:ext uri="{FF2B5EF4-FFF2-40B4-BE49-F238E27FC236}">
                    <a16:creationId xmlns:a16="http://schemas.microsoft.com/office/drawing/2014/main" id="{33028180-FC57-41E2-9874-BD949906CC3F}"/>
                  </a:ext>
                </a:extLst>
              </p:cNvPr>
              <p:cNvSpPr>
                <a:spLocks/>
              </p:cNvSpPr>
              <p:nvPr/>
            </p:nvSpPr>
            <p:spPr>
              <a:xfrm>
                <a:off x="140987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0" name="Rectangle 229">
                <a:extLst>
                  <a:ext uri="{FF2B5EF4-FFF2-40B4-BE49-F238E27FC236}">
                    <a16:creationId xmlns:a16="http://schemas.microsoft.com/office/drawing/2014/main" id="{A428A839-7BAF-4979-A0EE-91F40C11FE81}"/>
                  </a:ext>
                </a:extLst>
              </p:cNvPr>
              <p:cNvSpPr>
                <a:spLocks/>
              </p:cNvSpPr>
              <p:nvPr/>
            </p:nvSpPr>
            <p:spPr>
              <a:xfrm>
                <a:off x="236958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1" name="Rectangle 230">
                <a:extLst>
                  <a:ext uri="{FF2B5EF4-FFF2-40B4-BE49-F238E27FC236}">
                    <a16:creationId xmlns:a16="http://schemas.microsoft.com/office/drawing/2014/main" id="{E8E5B971-2FFF-495D-904E-1754501FCDE2}"/>
                  </a:ext>
                </a:extLst>
              </p:cNvPr>
              <p:cNvSpPr>
                <a:spLocks/>
              </p:cNvSpPr>
              <p:nvPr/>
            </p:nvSpPr>
            <p:spPr>
              <a:xfrm>
                <a:off x="332929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2" name="Rectangle 231">
                <a:extLst>
                  <a:ext uri="{FF2B5EF4-FFF2-40B4-BE49-F238E27FC236}">
                    <a16:creationId xmlns:a16="http://schemas.microsoft.com/office/drawing/2014/main" id="{331A14FD-E4E3-44E8-90C4-63354F192CD7}"/>
                  </a:ext>
                </a:extLst>
              </p:cNvPr>
              <p:cNvSpPr>
                <a:spLocks/>
              </p:cNvSpPr>
              <p:nvPr/>
            </p:nvSpPr>
            <p:spPr>
              <a:xfrm>
                <a:off x="428900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3" name="Rectangle 232">
                <a:extLst>
                  <a:ext uri="{FF2B5EF4-FFF2-40B4-BE49-F238E27FC236}">
                    <a16:creationId xmlns:a16="http://schemas.microsoft.com/office/drawing/2014/main" id="{825AFDC6-95BA-4E36-A7E5-2434D0A29B5A}"/>
                  </a:ext>
                </a:extLst>
              </p:cNvPr>
              <p:cNvSpPr>
                <a:spLocks/>
              </p:cNvSpPr>
              <p:nvPr/>
            </p:nvSpPr>
            <p:spPr>
              <a:xfrm>
                <a:off x="524871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4" name="Rectangle 233">
                <a:extLst>
                  <a:ext uri="{FF2B5EF4-FFF2-40B4-BE49-F238E27FC236}">
                    <a16:creationId xmlns:a16="http://schemas.microsoft.com/office/drawing/2014/main" id="{D716465D-EE0D-4453-A606-A83F187D3CB0}"/>
                  </a:ext>
                </a:extLst>
              </p:cNvPr>
              <p:cNvSpPr>
                <a:spLocks/>
              </p:cNvSpPr>
              <p:nvPr/>
            </p:nvSpPr>
            <p:spPr>
              <a:xfrm>
                <a:off x="620842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5" name="Rectangle 234">
                <a:extLst>
                  <a:ext uri="{FF2B5EF4-FFF2-40B4-BE49-F238E27FC236}">
                    <a16:creationId xmlns:a16="http://schemas.microsoft.com/office/drawing/2014/main" id="{3DC79EC4-363A-4716-8E58-408C7D981B54}"/>
                  </a:ext>
                </a:extLst>
              </p:cNvPr>
              <p:cNvSpPr>
                <a:spLocks/>
              </p:cNvSpPr>
              <p:nvPr/>
            </p:nvSpPr>
            <p:spPr>
              <a:xfrm>
                <a:off x="716813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6" name="Rectangle 235">
                <a:extLst>
                  <a:ext uri="{FF2B5EF4-FFF2-40B4-BE49-F238E27FC236}">
                    <a16:creationId xmlns:a16="http://schemas.microsoft.com/office/drawing/2014/main" id="{49FF239A-FB3F-48EE-8991-0EE98B0258BB}"/>
                  </a:ext>
                </a:extLst>
              </p:cNvPr>
              <p:cNvSpPr>
                <a:spLocks/>
              </p:cNvSpPr>
              <p:nvPr/>
            </p:nvSpPr>
            <p:spPr>
              <a:xfrm>
                <a:off x="812784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7" name="Rectangle 236">
                <a:extLst>
                  <a:ext uri="{FF2B5EF4-FFF2-40B4-BE49-F238E27FC236}">
                    <a16:creationId xmlns:a16="http://schemas.microsoft.com/office/drawing/2014/main" id="{942B26A2-737C-48BF-B21F-47EABB25FBE7}"/>
                  </a:ext>
                </a:extLst>
              </p:cNvPr>
              <p:cNvSpPr>
                <a:spLocks/>
              </p:cNvSpPr>
              <p:nvPr/>
            </p:nvSpPr>
            <p:spPr>
              <a:xfrm>
                <a:off x="908755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8" name="Rectangle 237">
                <a:extLst>
                  <a:ext uri="{FF2B5EF4-FFF2-40B4-BE49-F238E27FC236}">
                    <a16:creationId xmlns:a16="http://schemas.microsoft.com/office/drawing/2014/main" id="{E3076E2C-385C-42BA-8312-8A176F920440}"/>
                  </a:ext>
                </a:extLst>
              </p:cNvPr>
              <p:cNvSpPr>
                <a:spLocks/>
              </p:cNvSpPr>
              <p:nvPr/>
            </p:nvSpPr>
            <p:spPr>
              <a:xfrm>
                <a:off x="10047265"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base">
                  <a:lnSpc>
                    <a:spcPct val="95000"/>
                  </a:lnSpc>
                  <a:spcBef>
                    <a:spcPct val="0"/>
                  </a:spcBef>
                  <a:spcAft>
                    <a:spcPct val="0"/>
                  </a:spcAft>
                </a:pPr>
                <a:r>
                  <a:rPr lang="en-US" sz="3667" spc="333" dirty="0">
                    <a:solidFill>
                      <a:prstClr val="white"/>
                    </a:solidFill>
                    <a:latin typeface="Franklin Gothic Book"/>
                  </a:rPr>
                  <a:t> </a:t>
                </a:r>
              </a:p>
            </p:txBody>
          </p:sp>
          <p:sp>
            <p:nvSpPr>
              <p:cNvPr id="239" name="Rectangle 238">
                <a:extLst>
                  <a:ext uri="{FF2B5EF4-FFF2-40B4-BE49-F238E27FC236}">
                    <a16:creationId xmlns:a16="http://schemas.microsoft.com/office/drawing/2014/main" id="{9B8902CC-F93D-4AE7-A8DC-25DC91A68DF1}"/>
                  </a:ext>
                </a:extLst>
              </p:cNvPr>
              <p:cNvSpPr>
                <a:spLocks/>
              </p:cNvSpPr>
              <p:nvPr/>
            </p:nvSpPr>
            <p:spPr>
              <a:xfrm>
                <a:off x="11006977" y="422030"/>
                <a:ext cx="734858" cy="586857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fontAlgn="base">
                  <a:lnSpc>
                    <a:spcPct val="95000"/>
                  </a:lnSpc>
                  <a:spcBef>
                    <a:spcPct val="0"/>
                  </a:spcBef>
                  <a:spcAft>
                    <a:spcPct val="0"/>
                  </a:spcAft>
                </a:pPr>
                <a:r>
                  <a:rPr lang="en-US" sz="3667" spc="333" dirty="0">
                    <a:solidFill>
                      <a:prstClr val="white"/>
                    </a:solidFill>
                    <a:latin typeface="Franklin Gothic Book"/>
                  </a:rPr>
                  <a:t> </a:t>
                </a:r>
              </a:p>
            </p:txBody>
          </p:sp>
        </p:grpSp>
        <p:grpSp>
          <p:nvGrpSpPr>
            <p:cNvPr id="92" name="Half-Columns">
              <a:extLst>
                <a:ext uri="{FF2B5EF4-FFF2-40B4-BE49-F238E27FC236}">
                  <a16:creationId xmlns:a16="http://schemas.microsoft.com/office/drawing/2014/main" id="{204B2196-46C3-43E9-B91C-0070561E93CD}"/>
                </a:ext>
              </a:extLst>
            </p:cNvPr>
            <p:cNvGrpSpPr/>
            <p:nvPr userDrawn="1"/>
          </p:nvGrpSpPr>
          <p:grpSpPr>
            <a:xfrm>
              <a:off x="817594" y="422030"/>
              <a:ext cx="10556812" cy="5868573"/>
              <a:chOff x="817594" y="422030"/>
              <a:chExt cx="10556812" cy="5868573"/>
            </a:xfrm>
          </p:grpSpPr>
          <p:cxnSp>
            <p:nvCxnSpPr>
              <p:cNvPr id="138" name="Straight Connector 137">
                <a:extLst>
                  <a:ext uri="{FF2B5EF4-FFF2-40B4-BE49-F238E27FC236}">
                    <a16:creationId xmlns:a16="http://schemas.microsoft.com/office/drawing/2014/main" id="{B4C2424A-DAE7-47F5-803E-8B0C3C4C0BED}"/>
                  </a:ext>
                </a:extLst>
              </p:cNvPr>
              <p:cNvCxnSpPr>
                <a:cxnSpLocks/>
              </p:cNvCxnSpPr>
              <p:nvPr/>
            </p:nvCxnSpPr>
            <p:spPr>
              <a:xfrm>
                <a:off x="8175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1F10CFA4-C33B-4610-8DB6-2E8EC6F9274E}"/>
                  </a:ext>
                </a:extLst>
              </p:cNvPr>
              <p:cNvCxnSpPr>
                <a:cxnSpLocks/>
              </p:cNvCxnSpPr>
              <p:nvPr/>
            </p:nvCxnSpPr>
            <p:spPr>
              <a:xfrm>
                <a:off x="177730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EB84BBF9-CCBD-4D1E-9F11-4BC2A4DEC405}"/>
                  </a:ext>
                </a:extLst>
              </p:cNvPr>
              <p:cNvCxnSpPr>
                <a:cxnSpLocks/>
              </p:cNvCxnSpPr>
              <p:nvPr/>
            </p:nvCxnSpPr>
            <p:spPr>
              <a:xfrm>
                <a:off x="273701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1256665B-0348-4F3E-ACD5-FD9756A20BF4}"/>
                  </a:ext>
                </a:extLst>
              </p:cNvPr>
              <p:cNvCxnSpPr>
                <a:cxnSpLocks/>
              </p:cNvCxnSpPr>
              <p:nvPr/>
            </p:nvCxnSpPr>
            <p:spPr>
              <a:xfrm>
                <a:off x="369672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61724F5A-484B-49DE-9661-FAACDAE74398}"/>
                  </a:ext>
                </a:extLst>
              </p:cNvPr>
              <p:cNvCxnSpPr>
                <a:cxnSpLocks/>
              </p:cNvCxnSpPr>
              <p:nvPr/>
            </p:nvCxnSpPr>
            <p:spPr>
              <a:xfrm>
                <a:off x="465643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169D8861-3D05-4F47-A6E6-629CBE006E88}"/>
                  </a:ext>
                </a:extLst>
              </p:cNvPr>
              <p:cNvCxnSpPr>
                <a:cxnSpLocks/>
              </p:cNvCxnSpPr>
              <p:nvPr/>
            </p:nvCxnSpPr>
            <p:spPr>
              <a:xfrm>
                <a:off x="561614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AF0C905-F3F8-4655-B2FF-297DA836C0D9}"/>
                  </a:ext>
                </a:extLst>
              </p:cNvPr>
              <p:cNvCxnSpPr>
                <a:cxnSpLocks/>
              </p:cNvCxnSpPr>
              <p:nvPr/>
            </p:nvCxnSpPr>
            <p:spPr>
              <a:xfrm>
                <a:off x="657585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25C9DF23-3824-4397-B5F3-CA748E2542C3}"/>
                  </a:ext>
                </a:extLst>
              </p:cNvPr>
              <p:cNvCxnSpPr>
                <a:cxnSpLocks/>
              </p:cNvCxnSpPr>
              <p:nvPr/>
            </p:nvCxnSpPr>
            <p:spPr>
              <a:xfrm>
                <a:off x="753556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4810292C-F27F-4ADA-A818-ED47B4FDC90A}"/>
                  </a:ext>
                </a:extLst>
              </p:cNvPr>
              <p:cNvCxnSpPr>
                <a:cxnSpLocks/>
              </p:cNvCxnSpPr>
              <p:nvPr/>
            </p:nvCxnSpPr>
            <p:spPr>
              <a:xfrm>
                <a:off x="849527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0FA31E9E-A1D6-4A1F-A31B-8155BD763933}"/>
                  </a:ext>
                </a:extLst>
              </p:cNvPr>
              <p:cNvCxnSpPr>
                <a:cxnSpLocks/>
              </p:cNvCxnSpPr>
              <p:nvPr/>
            </p:nvCxnSpPr>
            <p:spPr>
              <a:xfrm>
                <a:off x="945498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0ADD4CF6-2B17-408C-B1A2-571FACF84D99}"/>
                  </a:ext>
                </a:extLst>
              </p:cNvPr>
              <p:cNvCxnSpPr>
                <a:cxnSpLocks/>
              </p:cNvCxnSpPr>
              <p:nvPr/>
            </p:nvCxnSpPr>
            <p:spPr>
              <a:xfrm>
                <a:off x="10414694"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B1F99D05-254F-46BB-9DB1-7A8273EE2D01}"/>
                  </a:ext>
                </a:extLst>
              </p:cNvPr>
              <p:cNvCxnSpPr>
                <a:cxnSpLocks/>
              </p:cNvCxnSpPr>
              <p:nvPr/>
            </p:nvCxnSpPr>
            <p:spPr>
              <a:xfrm>
                <a:off x="11374406" y="422030"/>
                <a:ext cx="0" cy="5868573"/>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3" name="Minor-Baselines">
              <a:extLst>
                <a:ext uri="{FF2B5EF4-FFF2-40B4-BE49-F238E27FC236}">
                  <a16:creationId xmlns:a16="http://schemas.microsoft.com/office/drawing/2014/main" id="{98E6344D-0E97-46AD-8557-F3655F4C668A}"/>
                </a:ext>
              </a:extLst>
            </p:cNvPr>
            <p:cNvGrpSpPr/>
            <p:nvPr userDrawn="1"/>
          </p:nvGrpSpPr>
          <p:grpSpPr>
            <a:xfrm>
              <a:off x="0" y="594635"/>
              <a:ext cx="12192000" cy="5523360"/>
              <a:chOff x="0" y="594635"/>
              <a:chExt cx="12192000" cy="5523360"/>
            </a:xfrm>
          </p:grpSpPr>
          <p:cxnSp>
            <p:nvCxnSpPr>
              <p:cNvPr id="121" name="Straight Connector 120">
                <a:extLst>
                  <a:ext uri="{FF2B5EF4-FFF2-40B4-BE49-F238E27FC236}">
                    <a16:creationId xmlns:a16="http://schemas.microsoft.com/office/drawing/2014/main" id="{43988CC1-B2D8-45F6-99EB-F0C991951B5A}"/>
                  </a:ext>
                </a:extLst>
              </p:cNvPr>
              <p:cNvCxnSpPr/>
              <p:nvPr userDrawn="1"/>
            </p:nvCxnSpPr>
            <p:spPr>
              <a:xfrm flipH="1">
                <a:off x="0" y="12850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DC16D86-ECC2-46A0-98AD-FF37E7984488}"/>
                  </a:ext>
                </a:extLst>
              </p:cNvPr>
              <p:cNvCxnSpPr/>
              <p:nvPr userDrawn="1"/>
            </p:nvCxnSpPr>
            <p:spPr>
              <a:xfrm flipH="1">
                <a:off x="0" y="16302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73384F88-CFC2-485A-85E5-BC9A387E70FA}"/>
                  </a:ext>
                </a:extLst>
              </p:cNvPr>
              <p:cNvCxnSpPr/>
              <p:nvPr userDrawn="1"/>
            </p:nvCxnSpPr>
            <p:spPr>
              <a:xfrm flipH="1">
                <a:off x="0" y="19754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A7C0AFBD-D26D-4ADF-A7A4-2C3FA6041EFE}"/>
                  </a:ext>
                </a:extLst>
              </p:cNvPr>
              <p:cNvCxnSpPr/>
              <p:nvPr userDrawn="1"/>
            </p:nvCxnSpPr>
            <p:spPr>
              <a:xfrm flipH="1">
                <a:off x="0" y="23206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DB0F5EF3-3B04-4F24-AAF0-42DB116656FA}"/>
                  </a:ext>
                </a:extLst>
              </p:cNvPr>
              <p:cNvCxnSpPr/>
              <p:nvPr userDrawn="1"/>
            </p:nvCxnSpPr>
            <p:spPr>
              <a:xfrm flipH="1">
                <a:off x="0" y="26658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BCEB7FB8-D33A-40E7-837C-1FA51F98C0D6}"/>
                  </a:ext>
                </a:extLst>
              </p:cNvPr>
              <p:cNvCxnSpPr/>
              <p:nvPr userDrawn="1"/>
            </p:nvCxnSpPr>
            <p:spPr>
              <a:xfrm flipH="1">
                <a:off x="0" y="301110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16B25582-EDFD-47F5-ADFD-07688165CA6C}"/>
                  </a:ext>
                </a:extLst>
              </p:cNvPr>
              <p:cNvCxnSpPr/>
              <p:nvPr userDrawn="1"/>
            </p:nvCxnSpPr>
            <p:spPr>
              <a:xfrm flipH="1">
                <a:off x="0" y="335631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D8EBB482-69CF-40F9-8E45-C88546A14A6E}"/>
                  </a:ext>
                </a:extLst>
              </p:cNvPr>
              <p:cNvCxnSpPr/>
              <p:nvPr userDrawn="1"/>
            </p:nvCxnSpPr>
            <p:spPr>
              <a:xfrm flipH="1">
                <a:off x="0" y="370152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CE2B10BC-DCC9-40B3-82C4-86EB18E49EEC}"/>
                  </a:ext>
                </a:extLst>
              </p:cNvPr>
              <p:cNvCxnSpPr/>
              <p:nvPr userDrawn="1"/>
            </p:nvCxnSpPr>
            <p:spPr>
              <a:xfrm flipH="1">
                <a:off x="0" y="40467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2E5809F8-35AA-4D63-B6C8-44DAA8666405}"/>
                  </a:ext>
                </a:extLst>
              </p:cNvPr>
              <p:cNvCxnSpPr/>
              <p:nvPr userDrawn="1"/>
            </p:nvCxnSpPr>
            <p:spPr>
              <a:xfrm flipH="1">
                <a:off x="0" y="43919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3A46BE4C-4471-46C7-A09E-442332E02E5B}"/>
                  </a:ext>
                </a:extLst>
              </p:cNvPr>
              <p:cNvCxnSpPr/>
              <p:nvPr userDrawn="1"/>
            </p:nvCxnSpPr>
            <p:spPr>
              <a:xfrm flipH="1">
                <a:off x="0" y="473715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52072814-59AF-4554-A7A1-BB6D9C0EED50}"/>
                  </a:ext>
                </a:extLst>
              </p:cNvPr>
              <p:cNvCxnSpPr/>
              <p:nvPr userDrawn="1"/>
            </p:nvCxnSpPr>
            <p:spPr>
              <a:xfrm flipH="1">
                <a:off x="0" y="508236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C32D6D8F-072E-4B53-B77E-DC633C5DA123}"/>
                  </a:ext>
                </a:extLst>
              </p:cNvPr>
              <p:cNvCxnSpPr/>
              <p:nvPr userDrawn="1"/>
            </p:nvCxnSpPr>
            <p:spPr>
              <a:xfrm flipH="1">
                <a:off x="0" y="542757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C36E0E73-A5E6-4E43-A3EA-1688EAC87F2E}"/>
                  </a:ext>
                </a:extLst>
              </p:cNvPr>
              <p:cNvCxnSpPr/>
              <p:nvPr userDrawn="1"/>
            </p:nvCxnSpPr>
            <p:spPr>
              <a:xfrm flipH="1">
                <a:off x="0" y="577278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364620E0-5F0B-419B-9A61-2736EE017C27}"/>
                  </a:ext>
                </a:extLst>
              </p:cNvPr>
              <p:cNvCxnSpPr/>
              <p:nvPr userDrawn="1"/>
            </p:nvCxnSpPr>
            <p:spPr>
              <a:xfrm flipH="1">
                <a:off x="0" y="93984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3600B6D8-8A6B-4BA6-9922-580E6EF2B022}"/>
                  </a:ext>
                </a:extLst>
              </p:cNvPr>
              <p:cNvCxnSpPr/>
              <p:nvPr userDrawn="1"/>
            </p:nvCxnSpPr>
            <p:spPr>
              <a:xfrm flipH="1">
                <a:off x="0" y="59463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779A02F2-15A0-4404-89EA-FD88F74D3901}"/>
                  </a:ext>
                </a:extLst>
              </p:cNvPr>
              <p:cNvCxnSpPr/>
              <p:nvPr userDrawn="1"/>
            </p:nvCxnSpPr>
            <p:spPr>
              <a:xfrm flipH="1">
                <a:off x="0" y="6117995"/>
                <a:ext cx="12192000" cy="0"/>
              </a:xfrm>
              <a:prstGeom prst="line">
                <a:avLst/>
              </a:prstGeom>
              <a:ln w="6350">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4" name="Major-Baselines">
              <a:extLst>
                <a:ext uri="{FF2B5EF4-FFF2-40B4-BE49-F238E27FC236}">
                  <a16:creationId xmlns:a16="http://schemas.microsoft.com/office/drawing/2014/main" id="{6BF42672-DF70-44F3-B7CA-14A6979B434F}"/>
                </a:ext>
              </a:extLst>
            </p:cNvPr>
            <p:cNvGrpSpPr/>
            <p:nvPr userDrawn="1"/>
          </p:nvGrpSpPr>
          <p:grpSpPr>
            <a:xfrm>
              <a:off x="0" y="767240"/>
              <a:ext cx="12192000" cy="5178150"/>
              <a:chOff x="0" y="767240"/>
              <a:chExt cx="12192000" cy="5178150"/>
            </a:xfrm>
          </p:grpSpPr>
          <p:cxnSp>
            <p:nvCxnSpPr>
              <p:cNvPr id="105" name="Straight Connector 104">
                <a:extLst>
                  <a:ext uri="{FF2B5EF4-FFF2-40B4-BE49-F238E27FC236}">
                    <a16:creationId xmlns:a16="http://schemas.microsoft.com/office/drawing/2014/main" id="{F9CF9ECB-458C-47D9-B4BC-21087E05A585}"/>
                  </a:ext>
                </a:extLst>
              </p:cNvPr>
              <p:cNvCxnSpPr/>
              <p:nvPr/>
            </p:nvCxnSpPr>
            <p:spPr>
              <a:xfrm flipH="1">
                <a:off x="0" y="14576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36C496AA-6375-48D7-856A-D734E8E4CC99}"/>
                  </a:ext>
                </a:extLst>
              </p:cNvPr>
              <p:cNvCxnSpPr/>
              <p:nvPr/>
            </p:nvCxnSpPr>
            <p:spPr>
              <a:xfrm flipH="1">
                <a:off x="0" y="18028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08EA394B-F758-47C2-8E09-4C30FE4E9810}"/>
                  </a:ext>
                </a:extLst>
              </p:cNvPr>
              <p:cNvCxnSpPr/>
              <p:nvPr/>
            </p:nvCxnSpPr>
            <p:spPr>
              <a:xfrm flipH="1">
                <a:off x="0" y="21480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12C99AEE-DED4-4917-B2D7-796AEC3A484F}"/>
                  </a:ext>
                </a:extLst>
              </p:cNvPr>
              <p:cNvCxnSpPr/>
              <p:nvPr/>
            </p:nvCxnSpPr>
            <p:spPr>
              <a:xfrm flipH="1">
                <a:off x="0" y="24932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9C5D77AD-8508-45AD-834F-CE4F2430EA20}"/>
                  </a:ext>
                </a:extLst>
              </p:cNvPr>
              <p:cNvCxnSpPr/>
              <p:nvPr/>
            </p:nvCxnSpPr>
            <p:spPr>
              <a:xfrm flipH="1">
                <a:off x="0" y="283850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04E9F12A-A21A-40D7-AC40-55C2530CAAF2}"/>
                  </a:ext>
                </a:extLst>
              </p:cNvPr>
              <p:cNvCxnSpPr/>
              <p:nvPr/>
            </p:nvCxnSpPr>
            <p:spPr>
              <a:xfrm flipH="1">
                <a:off x="0" y="318371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75DAFB1-56AC-4F65-BCF8-63F8201D42F1}"/>
                  </a:ext>
                </a:extLst>
              </p:cNvPr>
              <p:cNvCxnSpPr/>
              <p:nvPr/>
            </p:nvCxnSpPr>
            <p:spPr>
              <a:xfrm flipH="1">
                <a:off x="0" y="352892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57C01E0A-93E3-4ED0-B575-9CCBF85B5EB0}"/>
                  </a:ext>
                </a:extLst>
              </p:cNvPr>
              <p:cNvCxnSpPr/>
              <p:nvPr/>
            </p:nvCxnSpPr>
            <p:spPr>
              <a:xfrm flipH="1">
                <a:off x="0" y="387413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5EB4A7E-05D6-4483-9749-137062ABB64E}"/>
                  </a:ext>
                </a:extLst>
              </p:cNvPr>
              <p:cNvCxnSpPr/>
              <p:nvPr/>
            </p:nvCxnSpPr>
            <p:spPr>
              <a:xfrm flipH="1">
                <a:off x="0" y="42193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0185FF42-7436-456C-B038-DF7FCC9B86C4}"/>
                  </a:ext>
                </a:extLst>
              </p:cNvPr>
              <p:cNvCxnSpPr/>
              <p:nvPr/>
            </p:nvCxnSpPr>
            <p:spPr>
              <a:xfrm flipH="1">
                <a:off x="0" y="45645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F71B5F2E-D126-4777-9BB0-A0FAB3F2CAFD}"/>
                  </a:ext>
                </a:extLst>
              </p:cNvPr>
              <p:cNvCxnSpPr/>
              <p:nvPr/>
            </p:nvCxnSpPr>
            <p:spPr>
              <a:xfrm flipH="1">
                <a:off x="0" y="490976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00090F01-D3B0-4CC1-B868-3834E45B2BEF}"/>
                  </a:ext>
                </a:extLst>
              </p:cNvPr>
              <p:cNvCxnSpPr/>
              <p:nvPr/>
            </p:nvCxnSpPr>
            <p:spPr>
              <a:xfrm flipH="1">
                <a:off x="0" y="525497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49511C0-4CC6-4C57-BD16-06DFA68C5177}"/>
                  </a:ext>
                </a:extLst>
              </p:cNvPr>
              <p:cNvCxnSpPr/>
              <p:nvPr/>
            </p:nvCxnSpPr>
            <p:spPr>
              <a:xfrm flipH="1">
                <a:off x="0" y="560018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23DBF0E-1AA8-4FBC-BFCF-C35A665C6AAD}"/>
                  </a:ext>
                </a:extLst>
              </p:cNvPr>
              <p:cNvCxnSpPr/>
              <p:nvPr/>
            </p:nvCxnSpPr>
            <p:spPr>
              <a:xfrm flipH="1">
                <a:off x="0" y="594539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16F927AE-A157-4A95-BD1F-5D4003848AE5}"/>
                  </a:ext>
                </a:extLst>
              </p:cNvPr>
              <p:cNvCxnSpPr/>
              <p:nvPr/>
            </p:nvCxnSpPr>
            <p:spPr>
              <a:xfrm flipH="1">
                <a:off x="0" y="111245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AF1893BF-3A5C-45A7-80A6-F95888D2C2E9}"/>
                  </a:ext>
                </a:extLst>
              </p:cNvPr>
              <p:cNvCxnSpPr/>
              <p:nvPr/>
            </p:nvCxnSpPr>
            <p:spPr>
              <a:xfrm flipH="1">
                <a:off x="0" y="767240"/>
                <a:ext cx="12192000" cy="0"/>
              </a:xfrm>
              <a:prstGeom prst="line">
                <a:avLst/>
              </a:prstGeom>
              <a:ln w="9525">
                <a:solidFill>
                  <a:schemeClr val="accent2">
                    <a:lumMod val="40000"/>
                    <a:lumOff val="60000"/>
                    <a:alpha val="35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95" name="Margins">
              <a:extLst>
                <a:ext uri="{FF2B5EF4-FFF2-40B4-BE49-F238E27FC236}">
                  <a16:creationId xmlns:a16="http://schemas.microsoft.com/office/drawing/2014/main" id="{1987983C-C65D-47F1-8B52-9BB74C6156DF}"/>
                </a:ext>
              </a:extLst>
            </p:cNvPr>
            <p:cNvGrpSpPr/>
            <p:nvPr userDrawn="1"/>
          </p:nvGrpSpPr>
          <p:grpSpPr>
            <a:xfrm>
              <a:off x="0" y="-1"/>
              <a:ext cx="12192000" cy="6858001"/>
              <a:chOff x="0" y="-1"/>
              <a:chExt cx="12192000" cy="6858001"/>
            </a:xfrm>
          </p:grpSpPr>
          <p:grpSp>
            <p:nvGrpSpPr>
              <p:cNvPr id="96" name="Group 95">
                <a:extLst>
                  <a:ext uri="{FF2B5EF4-FFF2-40B4-BE49-F238E27FC236}">
                    <a16:creationId xmlns:a16="http://schemas.microsoft.com/office/drawing/2014/main" id="{2D64F71A-57E0-44C6-B31D-7B42B82DD2CE}"/>
                  </a:ext>
                </a:extLst>
              </p:cNvPr>
              <p:cNvGrpSpPr/>
              <p:nvPr userDrawn="1"/>
            </p:nvGrpSpPr>
            <p:grpSpPr>
              <a:xfrm>
                <a:off x="450166" y="-1"/>
                <a:ext cx="11291668" cy="6858001"/>
                <a:chOff x="450166" y="-295422"/>
                <a:chExt cx="11291668" cy="7491047"/>
              </a:xfrm>
            </p:grpSpPr>
            <p:cxnSp>
              <p:nvCxnSpPr>
                <p:cNvPr id="103" name="Straight Connector 102">
                  <a:extLst>
                    <a:ext uri="{FF2B5EF4-FFF2-40B4-BE49-F238E27FC236}">
                      <a16:creationId xmlns:a16="http://schemas.microsoft.com/office/drawing/2014/main" id="{7D8CFD01-2438-4217-AA3E-AC3BA160D143}"/>
                    </a:ext>
                  </a:extLst>
                </p:cNvPr>
                <p:cNvCxnSpPr/>
                <p:nvPr/>
              </p:nvCxnSpPr>
              <p:spPr>
                <a:xfrm>
                  <a:off x="450166"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9FDB0BB-10D1-469E-A843-451C93653F0B}"/>
                    </a:ext>
                  </a:extLst>
                </p:cNvPr>
                <p:cNvCxnSpPr/>
                <p:nvPr/>
              </p:nvCxnSpPr>
              <p:spPr>
                <a:xfrm>
                  <a:off x="11741834" y="-295422"/>
                  <a:ext cx="0" cy="7491047"/>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23DA59C4-54B1-44E7-8615-E9D3B756CD6D}"/>
                  </a:ext>
                </a:extLst>
              </p:cNvPr>
              <p:cNvGrpSpPr/>
              <p:nvPr userDrawn="1"/>
            </p:nvGrpSpPr>
            <p:grpSpPr>
              <a:xfrm>
                <a:off x="0" y="422030"/>
                <a:ext cx="12192000" cy="5868573"/>
                <a:chOff x="0" y="422030"/>
                <a:chExt cx="12192000" cy="5868573"/>
              </a:xfrm>
            </p:grpSpPr>
            <p:cxnSp>
              <p:nvCxnSpPr>
                <p:cNvPr id="101" name="Straight Connector 100">
                  <a:extLst>
                    <a:ext uri="{FF2B5EF4-FFF2-40B4-BE49-F238E27FC236}">
                      <a16:creationId xmlns:a16="http://schemas.microsoft.com/office/drawing/2014/main" id="{25110C17-BFAC-419F-917B-35541EA792AD}"/>
                    </a:ext>
                  </a:extLst>
                </p:cNvPr>
                <p:cNvCxnSpPr>
                  <a:cxnSpLocks/>
                </p:cNvCxnSpPr>
                <p:nvPr userDrawn="1"/>
              </p:nvCxnSpPr>
              <p:spPr>
                <a:xfrm>
                  <a:off x="0" y="42203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9E58F6F-92A5-473B-9FED-3D90ECE09E5D}"/>
                    </a:ext>
                  </a:extLst>
                </p:cNvPr>
                <p:cNvCxnSpPr/>
                <p:nvPr userDrawn="1"/>
              </p:nvCxnSpPr>
              <p:spPr>
                <a:xfrm>
                  <a:off x="0" y="6290603"/>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D0BD5319-1193-4438-BF01-B64CF6D0D212}"/>
                  </a:ext>
                </a:extLst>
              </p:cNvPr>
              <p:cNvGrpSpPr/>
              <p:nvPr userDrawn="1"/>
            </p:nvGrpSpPr>
            <p:grpSpPr>
              <a:xfrm>
                <a:off x="0" y="1457660"/>
                <a:ext cx="12192000" cy="345210"/>
                <a:chOff x="0" y="1457660"/>
                <a:chExt cx="12192000" cy="345210"/>
              </a:xfrm>
            </p:grpSpPr>
            <p:cxnSp>
              <p:nvCxnSpPr>
                <p:cNvPr id="99" name="Straight Connector 98">
                  <a:extLst>
                    <a:ext uri="{FF2B5EF4-FFF2-40B4-BE49-F238E27FC236}">
                      <a16:creationId xmlns:a16="http://schemas.microsoft.com/office/drawing/2014/main" id="{ED443DF1-4231-4D92-8DA5-C1F4B954AFC4}"/>
                    </a:ext>
                  </a:extLst>
                </p:cNvPr>
                <p:cNvCxnSpPr>
                  <a:cxnSpLocks/>
                </p:cNvCxnSpPr>
                <p:nvPr userDrawn="1"/>
              </p:nvCxnSpPr>
              <p:spPr>
                <a:xfrm>
                  <a:off x="0" y="145766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14C68D45-D4C2-497B-A9FF-6ADE11C36C5D}"/>
                    </a:ext>
                  </a:extLst>
                </p:cNvPr>
                <p:cNvCxnSpPr>
                  <a:cxnSpLocks/>
                </p:cNvCxnSpPr>
                <p:nvPr userDrawn="1"/>
              </p:nvCxnSpPr>
              <p:spPr>
                <a:xfrm>
                  <a:off x="0" y="1802870"/>
                  <a:ext cx="12192000" cy="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1247149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Subtitle">
    <p:bg>
      <p:bgPr>
        <a:solidFill>
          <a:schemeClr val="bg1"/>
        </a:solidFill>
        <a:effectLst/>
      </p:bgPr>
    </p:bg>
    <p:spTree>
      <p:nvGrpSpPr>
        <p:cNvPr id="1" name=""/>
        <p:cNvGrpSpPr/>
        <p:nvPr/>
      </p:nvGrpSpPr>
      <p:grpSpPr>
        <a:xfrm>
          <a:off x="0" y="0"/>
          <a:ext cx="0" cy="0"/>
          <a:chOff x="0" y="0"/>
          <a:chExt cx="0" cy="0"/>
        </a:xfrm>
      </p:grpSpPr>
      <p:sp>
        <p:nvSpPr>
          <p:cNvPr id="32" name="Texture">
            <a:extLst>
              <a:ext uri="{FF2B5EF4-FFF2-40B4-BE49-F238E27FC236}">
                <a16:creationId xmlns:a16="http://schemas.microsoft.com/office/drawing/2014/main" id="{B43DC9BF-B86E-41C3-9025-257603C6C46F}"/>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sp>
        <p:nvSpPr>
          <p:cNvPr id="57" name="Oval 56">
            <a:extLst>
              <a:ext uri="{FF2B5EF4-FFF2-40B4-BE49-F238E27FC236}">
                <a16:creationId xmlns:a16="http://schemas.microsoft.com/office/drawing/2014/main" id="{03C20BBD-F2FD-4A4D-B556-572D7207BCE8}"/>
              </a:ext>
            </a:extLst>
          </p:cNvPr>
          <p:cNvSpPr/>
          <p:nvPr userDrawn="1"/>
        </p:nvSpPr>
        <p:spPr>
          <a:xfrm>
            <a:off x="3555406" y="4109059"/>
            <a:ext cx="5169494" cy="1434491"/>
          </a:xfrm>
          <a:prstGeom prst="ellipse">
            <a:avLst/>
          </a:prstGeom>
          <a:gradFill flip="none" rotWithShape="1">
            <a:gsLst>
              <a:gs pos="55000">
                <a:schemeClr val="bg1"/>
              </a:gs>
              <a:gs pos="100000">
                <a:schemeClr val="bg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grpSp>
        <p:nvGrpSpPr>
          <p:cNvPr id="34" name="Logo">
            <a:extLst>
              <a:ext uri="{FF2B5EF4-FFF2-40B4-BE49-F238E27FC236}">
                <a16:creationId xmlns:a16="http://schemas.microsoft.com/office/drawing/2014/main" id="{E3F269C9-4FA8-4772-AD37-31EE93FFE599}"/>
              </a:ext>
            </a:extLst>
          </p:cNvPr>
          <p:cNvGrpSpPr>
            <a:grpSpLocks noChangeAspect="1"/>
          </p:cNvGrpSpPr>
          <p:nvPr userDrawn="1"/>
        </p:nvGrpSpPr>
        <p:grpSpPr bwMode="black">
          <a:xfrm>
            <a:off x="5258125" y="4703638"/>
            <a:ext cx="1675750" cy="393192"/>
            <a:chOff x="1231901" y="5359401"/>
            <a:chExt cx="11210925" cy="2630487"/>
          </a:xfrm>
        </p:grpSpPr>
        <p:sp>
          <p:nvSpPr>
            <p:cNvPr id="35" name="Freeform 5">
              <a:extLst>
                <a:ext uri="{FF2B5EF4-FFF2-40B4-BE49-F238E27FC236}">
                  <a16:creationId xmlns:a16="http://schemas.microsoft.com/office/drawing/2014/main" id="{09D9C9E1-25E5-483A-B7BC-660D3D3BFE4F}"/>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6">
              <a:extLst>
                <a:ext uri="{FF2B5EF4-FFF2-40B4-BE49-F238E27FC236}">
                  <a16:creationId xmlns:a16="http://schemas.microsoft.com/office/drawing/2014/main" id="{98453535-0FA3-4BC2-896D-B75809B1977B}"/>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Ruler">
            <a:extLst>
              <a:ext uri="{FF2B5EF4-FFF2-40B4-BE49-F238E27FC236}">
                <a16:creationId xmlns:a16="http://schemas.microsoft.com/office/drawing/2014/main" id="{70E5BD5C-60C7-4101-99EB-CFC9224AD7B1}"/>
              </a:ext>
            </a:extLst>
          </p:cNvPr>
          <p:cNvGrpSpPr/>
          <p:nvPr userDrawn="1"/>
        </p:nvGrpSpPr>
        <p:grpSpPr>
          <a:xfrm>
            <a:off x="5273041" y="4219340"/>
            <a:ext cx="1645920" cy="339946"/>
            <a:chOff x="5273041" y="4219340"/>
            <a:chExt cx="1645920" cy="339946"/>
          </a:xfrm>
        </p:grpSpPr>
        <p:cxnSp>
          <p:nvCxnSpPr>
            <p:cNvPr id="38" name="Straight Connector 37">
              <a:extLst>
                <a:ext uri="{FF2B5EF4-FFF2-40B4-BE49-F238E27FC236}">
                  <a16:creationId xmlns:a16="http://schemas.microsoft.com/office/drawing/2014/main" id="{2B101E02-F838-4187-B559-8AAE85AB8E2C}"/>
                </a:ext>
              </a:extLst>
            </p:cNvPr>
            <p:cNvCxnSpPr>
              <a:cxnSpLocks/>
            </p:cNvCxnSpPr>
            <p:nvPr/>
          </p:nvCxnSpPr>
          <p:spPr>
            <a:xfrm>
              <a:off x="6096003" y="4219340"/>
              <a:ext cx="0" cy="33994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B704FBA9-913D-4B32-AC77-21FE53C07630}"/>
                </a:ext>
              </a:extLst>
            </p:cNvPr>
            <p:cNvCxnSpPr/>
            <p:nvPr/>
          </p:nvCxnSpPr>
          <p:spPr>
            <a:xfrm>
              <a:off x="527304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7620BDF-DEE5-4359-9427-F80C2D3B2F2A}"/>
                </a:ext>
              </a:extLst>
            </p:cNvPr>
            <p:cNvCxnSpPr/>
            <p:nvPr/>
          </p:nvCxnSpPr>
          <p:spPr>
            <a:xfrm>
              <a:off x="5364485"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09FFEF8-C551-442A-BFBE-82B27BAA70D4}"/>
                </a:ext>
              </a:extLst>
            </p:cNvPr>
            <p:cNvCxnSpPr/>
            <p:nvPr/>
          </p:nvCxnSpPr>
          <p:spPr>
            <a:xfrm>
              <a:off x="545592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0E7191-0FEE-4B6B-AAE0-7E6505AAFF96}"/>
                </a:ext>
              </a:extLst>
            </p:cNvPr>
            <p:cNvCxnSpPr/>
            <p:nvPr/>
          </p:nvCxnSpPr>
          <p:spPr>
            <a:xfrm>
              <a:off x="5547364"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0B20760-2C74-490B-8779-0A3CEC331376}"/>
                </a:ext>
              </a:extLst>
            </p:cNvPr>
            <p:cNvCxnSpPr/>
            <p:nvPr/>
          </p:nvCxnSpPr>
          <p:spPr>
            <a:xfrm>
              <a:off x="563880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A2C7CD8C-10E9-4C4D-AF46-8EAA7E7B84D7}"/>
                </a:ext>
              </a:extLst>
            </p:cNvPr>
            <p:cNvCxnSpPr/>
            <p:nvPr/>
          </p:nvCxnSpPr>
          <p:spPr>
            <a:xfrm>
              <a:off x="5730244"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1A9DBD41-B998-4B1C-A2AD-746277984ECF}"/>
                </a:ext>
              </a:extLst>
            </p:cNvPr>
            <p:cNvCxnSpPr/>
            <p:nvPr/>
          </p:nvCxnSpPr>
          <p:spPr>
            <a:xfrm>
              <a:off x="5821684"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0011DFB-F9A6-4F90-A169-06A40F2D4491}"/>
                </a:ext>
              </a:extLst>
            </p:cNvPr>
            <p:cNvCxnSpPr/>
            <p:nvPr/>
          </p:nvCxnSpPr>
          <p:spPr>
            <a:xfrm>
              <a:off x="5913123"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1FCB742D-4AAE-446A-95AF-D86CE705B38D}"/>
                </a:ext>
              </a:extLst>
            </p:cNvPr>
            <p:cNvCxnSpPr/>
            <p:nvPr/>
          </p:nvCxnSpPr>
          <p:spPr>
            <a:xfrm>
              <a:off x="600456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A3622024-A6FB-4862-AAA9-378E17CB2F65}"/>
                </a:ext>
              </a:extLst>
            </p:cNvPr>
            <p:cNvCxnSpPr/>
            <p:nvPr/>
          </p:nvCxnSpPr>
          <p:spPr>
            <a:xfrm>
              <a:off x="6187443"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0DDF8BE4-F228-4207-9F16-38714201F036}"/>
                </a:ext>
              </a:extLst>
            </p:cNvPr>
            <p:cNvCxnSpPr/>
            <p:nvPr/>
          </p:nvCxnSpPr>
          <p:spPr>
            <a:xfrm>
              <a:off x="627888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F0D7718-987E-4A31-88D8-257BD9D16439}"/>
                </a:ext>
              </a:extLst>
            </p:cNvPr>
            <p:cNvCxnSpPr/>
            <p:nvPr/>
          </p:nvCxnSpPr>
          <p:spPr>
            <a:xfrm>
              <a:off x="637032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E1895AC8-2DE9-4C57-9175-D6619461AA6A}"/>
                </a:ext>
              </a:extLst>
            </p:cNvPr>
            <p:cNvCxnSpPr/>
            <p:nvPr/>
          </p:nvCxnSpPr>
          <p:spPr>
            <a:xfrm>
              <a:off x="6461762"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15B7B8D-36D9-46DB-BDD6-8D7FCA31766A}"/>
                </a:ext>
              </a:extLst>
            </p:cNvPr>
            <p:cNvCxnSpPr/>
            <p:nvPr/>
          </p:nvCxnSpPr>
          <p:spPr>
            <a:xfrm>
              <a:off x="6553202"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381AF8FD-CBB7-47C3-92D4-68F412B850C3}"/>
                </a:ext>
              </a:extLst>
            </p:cNvPr>
            <p:cNvCxnSpPr/>
            <p:nvPr/>
          </p:nvCxnSpPr>
          <p:spPr>
            <a:xfrm>
              <a:off x="6644642" y="4391160"/>
              <a:ext cx="0" cy="168126"/>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75397F3-9A79-4A57-9C34-2D06B47E2F34}"/>
                </a:ext>
              </a:extLst>
            </p:cNvPr>
            <p:cNvCxnSpPr/>
            <p:nvPr/>
          </p:nvCxnSpPr>
          <p:spPr>
            <a:xfrm>
              <a:off x="673608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E17F042D-D6EC-49C7-8409-4FB587063A25}"/>
                </a:ext>
              </a:extLst>
            </p:cNvPr>
            <p:cNvCxnSpPr/>
            <p:nvPr/>
          </p:nvCxnSpPr>
          <p:spPr>
            <a:xfrm>
              <a:off x="6827521" y="4447203"/>
              <a:ext cx="0" cy="112083"/>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7F47560C-6D83-4B1E-A656-E798CCE71DB3}"/>
                </a:ext>
              </a:extLst>
            </p:cNvPr>
            <p:cNvCxnSpPr/>
            <p:nvPr/>
          </p:nvCxnSpPr>
          <p:spPr>
            <a:xfrm>
              <a:off x="6918961" y="4503244"/>
              <a:ext cx="0" cy="56042"/>
            </a:xfrm>
            <a:prstGeom prst="line">
              <a:avLst/>
            </a:prstGeom>
            <a:ln w="12700" cap="flat">
              <a:solidFill>
                <a:schemeClr val="accent1"/>
              </a:solidFill>
              <a:miter lim="800000"/>
            </a:ln>
          </p:spPr>
          <p:style>
            <a:lnRef idx="1">
              <a:schemeClr val="accent1"/>
            </a:lnRef>
            <a:fillRef idx="0">
              <a:schemeClr val="accent1"/>
            </a:fillRef>
            <a:effectRef idx="0">
              <a:schemeClr val="accent1"/>
            </a:effectRef>
            <a:fontRef idx="minor">
              <a:schemeClr val="tx1"/>
            </a:fontRef>
          </p:style>
        </p:cxnSp>
      </p:grpSp>
      <p:sp>
        <p:nvSpPr>
          <p:cNvPr id="33" name="Speaker Name">
            <a:extLst>
              <a:ext uri="{FF2B5EF4-FFF2-40B4-BE49-F238E27FC236}">
                <a16:creationId xmlns:a16="http://schemas.microsoft.com/office/drawing/2014/main" id="{0D03EEEE-B07B-48F4-B55F-C322BA4FCCF0}"/>
              </a:ext>
            </a:extLst>
          </p:cNvPr>
          <p:cNvSpPr>
            <a:spLocks noGrp="1"/>
          </p:cNvSpPr>
          <p:nvPr>
            <p:ph type="body" sz="quarter" idx="17" hasCustomPrompt="1"/>
          </p:nvPr>
        </p:nvSpPr>
        <p:spPr>
          <a:xfrm>
            <a:off x="3329295" y="2953512"/>
            <a:ext cx="4020340"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85000"/>
                    <a:lumOff val="15000"/>
                  </a:schemeClr>
                </a:solidFill>
                <a:latin typeface="+mj-lt"/>
                <a:ea typeface="+mj-ea"/>
                <a:cs typeface="+mj-cs"/>
              </a:defRPr>
            </a:lvl1pPr>
          </a:lstStyle>
          <a:p>
            <a:pPr marL="182880" lvl="0" indent="-182880">
              <a:spcBef>
                <a:spcPct val="0"/>
              </a:spcBef>
            </a:pPr>
            <a:r>
              <a:rPr lang="en-US" dirty="0"/>
              <a:t>Speaker Name</a:t>
            </a:r>
          </a:p>
        </p:txBody>
      </p:sp>
      <p:sp>
        <p:nvSpPr>
          <p:cNvPr id="58" name="Text Placeholder 128">
            <a:extLst>
              <a:ext uri="{FF2B5EF4-FFF2-40B4-BE49-F238E27FC236}">
                <a16:creationId xmlns:a16="http://schemas.microsoft.com/office/drawing/2014/main" id="{02F3F674-6E3E-4B4F-A461-192B2E1A3EA4}"/>
              </a:ext>
            </a:extLst>
          </p:cNvPr>
          <p:cNvSpPr>
            <a:spLocks noGrp="1"/>
          </p:cNvSpPr>
          <p:nvPr>
            <p:ph type="body" sz="quarter" idx="18" hasCustomPrompt="1"/>
          </p:nvPr>
        </p:nvSpPr>
        <p:spPr>
          <a:xfrm>
            <a:off x="7349638" y="2953512"/>
            <a:ext cx="1513062" cy="402336"/>
          </a:xfrm>
          <a:solidFill>
            <a:schemeClr val="tx1">
              <a:lumMod val="85000"/>
              <a:lumOff val="15000"/>
            </a:schemeClr>
          </a:solidFill>
          <a:ln w="19050">
            <a:solidFill>
              <a:schemeClr val="tx1">
                <a:lumMod val="75000"/>
                <a:lumOff val="25000"/>
              </a:schemeClr>
            </a:solidFill>
            <a:miter lim="800000"/>
          </a:ln>
        </p:spPr>
        <p:txBody>
          <a:bodyPr vert="horz" wrap="square" lIns="0" tIns="0" rIns="0" bIns="0" rtlCol="0" anchor="ctr">
            <a:noAutofit/>
          </a:bodyPr>
          <a:lstStyle>
            <a:lvl1pPr marL="0" indent="0" algn="ctr">
              <a:buFont typeface="Arial" panose="020B0604020202020204" pitchFamily="34" charset="0"/>
              <a:buNone/>
              <a:defRPr lang="en-US" sz="1600" b="1" i="1" cap="all" spc="60" baseline="0" dirty="0">
                <a:solidFill>
                  <a:schemeClr val="bg1"/>
                </a:solidFill>
                <a:latin typeface="+mj-lt"/>
                <a:ea typeface="+mj-ea"/>
                <a:cs typeface="+mj-cs"/>
              </a:defRPr>
            </a:lvl1pPr>
          </a:lstStyle>
          <a:p>
            <a:pPr marL="182880" lvl="0" indent="-182880" algn="ctr">
              <a:spcBef>
                <a:spcPct val="0"/>
              </a:spcBef>
            </a:pPr>
            <a:r>
              <a:rPr lang="en-US" dirty="0"/>
              <a:t>YYYY.MM.DD</a:t>
            </a:r>
          </a:p>
        </p:txBody>
      </p:sp>
      <p:sp>
        <p:nvSpPr>
          <p:cNvPr id="59" name="Speaker Title">
            <a:extLst>
              <a:ext uri="{FF2B5EF4-FFF2-40B4-BE49-F238E27FC236}">
                <a16:creationId xmlns:a16="http://schemas.microsoft.com/office/drawing/2014/main" id="{058F1415-E1D6-47DA-A185-76C3FC2257D8}"/>
              </a:ext>
            </a:extLst>
          </p:cNvPr>
          <p:cNvSpPr>
            <a:spLocks noGrp="1"/>
          </p:cNvSpPr>
          <p:nvPr>
            <p:ph type="body" sz="quarter" idx="19" hasCustomPrompt="1"/>
          </p:nvPr>
        </p:nvSpPr>
        <p:spPr>
          <a:xfrm>
            <a:off x="3329295" y="3355848"/>
            <a:ext cx="5533405" cy="402336"/>
          </a:xfrm>
          <a:noFill/>
          <a:ln w="19050">
            <a:solidFill>
              <a:schemeClr val="tx1">
                <a:lumMod val="75000"/>
                <a:lumOff val="25000"/>
              </a:schemeClr>
            </a:solidFill>
            <a:miter lim="800000"/>
          </a:ln>
        </p:spPr>
        <p:txBody>
          <a:bodyPr vert="horz" wrap="square" lIns="182880" tIns="0" rIns="182880" bIns="0" rtlCol="0" anchor="ctr">
            <a:noAutofit/>
          </a:bodyPr>
          <a:lstStyle>
            <a:lvl1pPr marL="0" indent="0">
              <a:buFont typeface="Arial" panose="020B0604020202020204" pitchFamily="34" charset="0"/>
              <a:buNone/>
              <a:defRPr lang="en-US" sz="1600" b="0" i="1" cap="none" spc="60" baseline="0" dirty="0">
                <a:solidFill>
                  <a:schemeClr val="tx1">
                    <a:lumMod val="75000"/>
                    <a:lumOff val="25000"/>
                  </a:schemeClr>
                </a:solidFill>
                <a:latin typeface="+mj-lt"/>
                <a:ea typeface="+mj-ea"/>
                <a:cs typeface="+mj-cs"/>
              </a:defRPr>
            </a:lvl1pPr>
          </a:lstStyle>
          <a:p>
            <a:pPr marL="182880" lvl="0" indent="-182880">
              <a:spcBef>
                <a:spcPct val="0"/>
              </a:spcBef>
            </a:pPr>
            <a:r>
              <a:rPr lang="en-US" dirty="0"/>
              <a:t>Speaker Title / Company Name</a:t>
            </a:r>
          </a:p>
        </p:txBody>
      </p:sp>
      <p:sp>
        <p:nvSpPr>
          <p:cNvPr id="11" name="Subtitle">
            <a:extLst>
              <a:ext uri="{FF2B5EF4-FFF2-40B4-BE49-F238E27FC236}">
                <a16:creationId xmlns:a16="http://schemas.microsoft.com/office/drawing/2014/main" id="{5B3A83E2-FA5C-4BC9-8B76-2DE81BEB6132}"/>
              </a:ext>
            </a:extLst>
          </p:cNvPr>
          <p:cNvSpPr>
            <a:spLocks noGrp="1"/>
          </p:cNvSpPr>
          <p:nvPr>
            <p:ph type="body" sz="quarter" idx="13" hasCustomPrompt="1"/>
          </p:nvPr>
        </p:nvSpPr>
        <p:spPr bwMode="ltGray">
          <a:xfrm>
            <a:off x="3329295" y="2440333"/>
            <a:ext cx="5533406"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lgn="ctr">
              <a:buNone/>
              <a:defRPr lang="en-US" sz="1600" b="1" cap="all" spc="300" baseline="0" dirty="0">
                <a:solidFill>
                  <a:schemeClr val="bg1"/>
                </a:solidFill>
              </a:defRPr>
            </a:lvl1pPr>
          </a:lstStyle>
          <a:p>
            <a:pPr marL="182880" lvl="0" indent="-182880"/>
            <a:r>
              <a:rPr lang="en-US" dirty="0"/>
              <a:t>subtitle</a:t>
            </a:r>
          </a:p>
        </p:txBody>
      </p:sp>
      <p:sp>
        <p:nvSpPr>
          <p:cNvPr id="2" name="Title">
            <a:extLst>
              <a:ext uri="{FF2B5EF4-FFF2-40B4-BE49-F238E27FC236}">
                <a16:creationId xmlns:a16="http://schemas.microsoft.com/office/drawing/2014/main" id="{14F1EC20-D177-4F9A-AF02-5ABB483C640C}"/>
              </a:ext>
            </a:extLst>
          </p:cNvPr>
          <p:cNvSpPr>
            <a:spLocks noGrp="1"/>
          </p:cNvSpPr>
          <p:nvPr>
            <p:ph type="title" hasCustomPrompt="1"/>
          </p:nvPr>
        </p:nvSpPr>
        <p:spPr>
          <a:xfrm>
            <a:off x="1409700" y="935570"/>
            <a:ext cx="9372600" cy="1335024"/>
          </a:xfrm>
        </p:spPr>
        <p:txBody>
          <a:bodyPr anchor="b"/>
          <a:lstStyle>
            <a:lvl1pPr algn="ctr">
              <a:lnSpc>
                <a:spcPct val="90000"/>
              </a:lnSpc>
              <a:defRPr sz="4400"/>
            </a:lvl1pPr>
          </a:lstStyle>
          <a:p>
            <a:r>
              <a:rPr lang="en-US" dirty="0"/>
              <a:t>Title Slide</a:t>
            </a:r>
            <a:br>
              <a:rPr lang="en-US" dirty="0"/>
            </a:br>
            <a:r>
              <a:rPr lang="en-US" dirty="0"/>
              <a:t>with Subtitle Layout</a:t>
            </a:r>
          </a:p>
        </p:txBody>
      </p:sp>
      <p:sp>
        <p:nvSpPr>
          <p:cNvPr id="3" name="Rectangle 2">
            <a:extLst>
              <a:ext uri="{FF2B5EF4-FFF2-40B4-BE49-F238E27FC236}">
                <a16:creationId xmlns:a16="http://schemas.microsoft.com/office/drawing/2014/main" id="{0F0DA467-6522-4105-A238-D69A42AC0280}"/>
              </a:ext>
            </a:extLst>
          </p:cNvPr>
          <p:cNvSpPr/>
          <p:nvPr userDrawn="1"/>
        </p:nvSpPr>
        <p:spPr>
          <a:xfrm>
            <a:off x="0" y="0"/>
            <a:ext cx="12192000" cy="141619"/>
          </a:xfrm>
          <a:prstGeom prst="rect">
            <a:avLst/>
          </a:prstGeom>
          <a:gradFill flip="none" rotWithShape="1">
            <a:gsLst>
              <a:gs pos="0">
                <a:schemeClr val="accent1"/>
              </a:gs>
              <a:gs pos="100000">
                <a:schemeClr val="accent1">
                  <a:lumMod val="50000"/>
                </a:schemeClr>
              </a:gs>
            </a:gsLst>
            <a:path path="circle">
              <a:fillToRect l="50000" t="50000" r="50000" b="50000"/>
            </a:path>
            <a:tileRect/>
          </a:gradFill>
        </p:spPr>
        <p:txBody>
          <a:bodyPr vert="horz" lIns="137160" tIns="73152" rIns="137160" bIns="73152" rtlCol="0" anchor="ctr">
            <a:noAutofit/>
          </a:bodyPr>
          <a:lstStyle/>
          <a:p>
            <a:pPr marL="182880" lvl="0" indent="-182880" algn="ctr" defTabSz="914400">
              <a:lnSpc>
                <a:spcPct val="100000"/>
              </a:lnSpc>
              <a:spcBef>
                <a:spcPts val="1000"/>
              </a:spcBef>
              <a:buClr>
                <a:schemeClr val="accent1"/>
              </a:buClr>
              <a:buFont typeface="Arial" panose="020B0604020202020204" pitchFamily="34" charset="0"/>
              <a:buNone/>
            </a:pPr>
            <a:endParaRPr lang="en-US" sz="1600" b="1" cap="all" spc="300" baseline="0" dirty="0" err="1">
              <a:solidFill>
                <a:schemeClr val="bg1"/>
              </a:solidFill>
            </a:endParaRPr>
          </a:p>
        </p:txBody>
      </p:sp>
    </p:spTree>
    <p:extLst>
      <p:ext uri="{BB962C8B-B14F-4D97-AF65-F5344CB8AC3E}">
        <p14:creationId xmlns:p14="http://schemas.microsoft.com/office/powerpoint/2010/main" val="2775835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gue">
    <p:bg>
      <p:bgPr>
        <a:solidFill>
          <a:schemeClr val="bg1"/>
        </a:solidFill>
        <a:effectLst/>
      </p:bgPr>
    </p:bg>
    <p:spTree>
      <p:nvGrpSpPr>
        <p:cNvPr id="1" name=""/>
        <p:cNvGrpSpPr/>
        <p:nvPr/>
      </p:nvGrpSpPr>
      <p:grpSpPr>
        <a:xfrm>
          <a:off x="0" y="0"/>
          <a:ext cx="0" cy="0"/>
          <a:chOff x="0" y="0"/>
          <a:chExt cx="0" cy="0"/>
        </a:xfrm>
      </p:grpSpPr>
      <p:sp>
        <p:nvSpPr>
          <p:cNvPr id="15" name="Texture">
            <a:extLst>
              <a:ext uri="{FF2B5EF4-FFF2-40B4-BE49-F238E27FC236}">
                <a16:creationId xmlns:a16="http://schemas.microsoft.com/office/drawing/2014/main" id="{8069FB3F-2D73-4C3F-A7A8-E6A22F71C3AB}"/>
              </a:ext>
            </a:extLst>
          </p:cNvPr>
          <p:cNvSpPr/>
          <p:nvPr userDrawn="1"/>
        </p:nvSpPr>
        <p:spPr>
          <a:xfrm>
            <a:off x="0" y="0"/>
            <a:ext cx="12192000" cy="68580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dirty="0" err="1"/>
          </a:p>
        </p:txBody>
      </p:sp>
      <p:pic>
        <p:nvPicPr>
          <p:cNvPr id="14" name="Picture 13">
            <a:extLst>
              <a:ext uri="{FF2B5EF4-FFF2-40B4-BE49-F238E27FC236}">
                <a16:creationId xmlns:a16="http://schemas.microsoft.com/office/drawing/2014/main" id="{4544ECD5-A100-4CBB-BE85-5E2DB9399658}"/>
              </a:ext>
            </a:extLst>
          </p:cNvPr>
          <p:cNvPicPr>
            <a:picLocks noChangeAspect="1"/>
          </p:cNvPicPr>
          <p:nvPr userDrawn="1"/>
        </p:nvPicPr>
        <p:blipFill rotWithShape="1">
          <a:blip r:embed="rId3"/>
          <a:srcRect l="21034" b="37183"/>
          <a:stretch/>
        </p:blipFill>
        <p:spPr>
          <a:xfrm>
            <a:off x="0" y="5372101"/>
            <a:ext cx="2354138" cy="1485900"/>
          </a:xfrm>
          <a:prstGeom prst="rect">
            <a:avLst/>
          </a:prstGeom>
        </p:spPr>
      </p:pic>
      <p:sp>
        <p:nvSpPr>
          <p:cNvPr id="5" name="Subtitle">
            <a:extLst>
              <a:ext uri="{FF2B5EF4-FFF2-40B4-BE49-F238E27FC236}">
                <a16:creationId xmlns:a16="http://schemas.microsoft.com/office/drawing/2014/main" id="{1C588A51-7159-4E94-9856-B64483B8F966}"/>
              </a:ext>
            </a:extLst>
          </p:cNvPr>
          <p:cNvSpPr>
            <a:spLocks noGrp="1"/>
          </p:cNvSpPr>
          <p:nvPr>
            <p:ph type="body" sz="quarter" idx="13" hasCustomPrompt="1"/>
          </p:nvPr>
        </p:nvSpPr>
        <p:spPr bwMode="ltGray">
          <a:xfrm>
            <a:off x="449201" y="479908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cap="all" spc="300" baseline="0" dirty="0">
                <a:solidFill>
                  <a:schemeClr val="bg1"/>
                </a:solidFill>
              </a:defRPr>
            </a:lvl1pPr>
          </a:lstStyle>
          <a:p>
            <a:pPr marL="182880" lvl="0" indent="-182880"/>
            <a:r>
              <a:rPr lang="en-US" dirty="0"/>
              <a:t>Subtitle (Delete if not used)</a:t>
            </a:r>
          </a:p>
        </p:txBody>
      </p:sp>
      <p:sp>
        <p:nvSpPr>
          <p:cNvPr id="2" name="Title">
            <a:extLst>
              <a:ext uri="{FF2B5EF4-FFF2-40B4-BE49-F238E27FC236}">
                <a16:creationId xmlns:a16="http://schemas.microsoft.com/office/drawing/2014/main" id="{CDB11C21-4702-4664-8D59-793314F8EA10}"/>
              </a:ext>
            </a:extLst>
          </p:cNvPr>
          <p:cNvSpPr>
            <a:spLocks noGrp="1"/>
          </p:cNvSpPr>
          <p:nvPr>
            <p:ph type="title" hasCustomPrompt="1"/>
          </p:nvPr>
        </p:nvSpPr>
        <p:spPr>
          <a:xfrm>
            <a:off x="449202" y="3528919"/>
            <a:ext cx="9372600" cy="1214393"/>
          </a:xfrm>
        </p:spPr>
        <p:txBody>
          <a:bodyPr anchor="b">
            <a:noAutofit/>
          </a:bodyPr>
          <a:lstStyle>
            <a:lvl1pPr>
              <a:lnSpc>
                <a:spcPct val="100000"/>
              </a:lnSpc>
              <a:defRPr/>
            </a:lvl1pPr>
          </a:lstStyle>
          <a:p>
            <a:r>
              <a:rPr lang="en-US" dirty="0"/>
              <a:t>Segue Layout</a:t>
            </a:r>
          </a:p>
        </p:txBody>
      </p:sp>
      <p:sp>
        <p:nvSpPr>
          <p:cNvPr id="3" name="Footer Placeholder 2">
            <a:extLst>
              <a:ext uri="{FF2B5EF4-FFF2-40B4-BE49-F238E27FC236}">
                <a16:creationId xmlns:a16="http://schemas.microsoft.com/office/drawing/2014/main" id="{72052D0D-2EA4-4CCE-90FA-A02A78C35856}"/>
              </a:ext>
            </a:extLst>
          </p:cNvPr>
          <p:cNvSpPr>
            <a:spLocks noGrp="1"/>
          </p:cNvSpPr>
          <p:nvPr>
            <p:ph type="ftr" sz="quarter" idx="14"/>
          </p:nvPr>
        </p:nvSpPr>
        <p:spPr/>
        <p:txBody>
          <a:bodyPr/>
          <a:lstStyle/>
          <a:p>
            <a:r>
              <a:rPr lang="en-US"/>
              <a:t>Optional Title of the Presentation</a:t>
            </a:r>
            <a:endParaRPr lang="en-US" dirty="0"/>
          </a:p>
        </p:txBody>
      </p:sp>
      <p:sp>
        <p:nvSpPr>
          <p:cNvPr id="17" name="Slide Number">
            <a:extLst>
              <a:ext uri="{FF2B5EF4-FFF2-40B4-BE49-F238E27FC236}">
                <a16:creationId xmlns:a16="http://schemas.microsoft.com/office/drawing/2014/main" id="{C761C9BF-9222-4B2A-A19A-B5A2710D93B3}"/>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grpSp>
        <p:nvGrpSpPr>
          <p:cNvPr id="18" name="Logo">
            <a:extLst>
              <a:ext uri="{FF2B5EF4-FFF2-40B4-BE49-F238E27FC236}">
                <a16:creationId xmlns:a16="http://schemas.microsoft.com/office/drawing/2014/main" id="{507CC42B-659C-4CD4-9F20-358BBD7B0A6B}"/>
              </a:ext>
            </a:extLst>
          </p:cNvPr>
          <p:cNvGrpSpPr>
            <a:grpSpLocks noChangeAspect="1"/>
          </p:cNvGrpSpPr>
          <p:nvPr userDrawn="1"/>
        </p:nvGrpSpPr>
        <p:grpSpPr bwMode="black">
          <a:xfrm>
            <a:off x="428653" y="6447297"/>
            <a:ext cx="914400" cy="214552"/>
            <a:chOff x="1231901" y="5359401"/>
            <a:chExt cx="11210925" cy="2630487"/>
          </a:xfrm>
        </p:grpSpPr>
        <p:sp>
          <p:nvSpPr>
            <p:cNvPr id="19" name="Freeform 5">
              <a:extLst>
                <a:ext uri="{FF2B5EF4-FFF2-40B4-BE49-F238E27FC236}">
                  <a16:creationId xmlns:a16="http://schemas.microsoft.com/office/drawing/2014/main" id="{648801B8-52B3-47AC-9853-2375E256E3A9}"/>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6">
              <a:extLst>
                <a:ext uri="{FF2B5EF4-FFF2-40B4-BE49-F238E27FC236}">
                  <a16:creationId xmlns:a16="http://schemas.microsoft.com/office/drawing/2014/main" id="{64F20CB9-4127-4672-B9D3-714FA916023D}"/>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20317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Font typeface="Arial" panose="020B0604020202020204" pitchFamily="34" charset="0"/>
              <a:buNone/>
              <a:defRPr lang="en-US" sz="1600" b="1" cap="all" spc="300" baseline="0" dirty="0">
                <a:solidFill>
                  <a:schemeClr val="bg1"/>
                </a:solidFill>
              </a:defRPr>
            </a:lvl1pPr>
          </a:lstStyle>
          <a:p>
            <a:pPr marL="182880" lvl="0" indent="-182880"/>
            <a:r>
              <a:rPr lang="en-US" dirty="0"/>
              <a:t>Subtitle (Delete if not used)</a:t>
            </a:r>
          </a:p>
        </p:txBody>
      </p:sp>
      <p:sp>
        <p:nvSpPr>
          <p:cNvPr id="3" name="Footer Placeholder 2">
            <a:extLst>
              <a:ext uri="{FF2B5EF4-FFF2-40B4-BE49-F238E27FC236}">
                <a16:creationId xmlns:a16="http://schemas.microsoft.com/office/drawing/2014/main" id="{F4ADC8EF-0ABA-4B52-AEA2-7A3943163EAA}"/>
              </a:ext>
            </a:extLst>
          </p:cNvPr>
          <p:cNvSpPr>
            <a:spLocks noGrp="1"/>
          </p:cNvSpPr>
          <p:nvPr>
            <p:ph type="ftr" sz="quarter" idx="14"/>
          </p:nvPr>
        </p:nvSpPr>
        <p:spPr/>
        <p:txBody>
          <a:bodyPr/>
          <a:lstStyle/>
          <a:p>
            <a:r>
              <a:rPr lang="en-US"/>
              <a:t>Optional Title of the Presentation</a:t>
            </a:r>
            <a:endParaRPr lang="en-US" dirty="0"/>
          </a:p>
        </p:txBody>
      </p:sp>
      <p:sp>
        <p:nvSpPr>
          <p:cNvPr id="5" name="Title 4">
            <a:extLst>
              <a:ext uri="{FF2B5EF4-FFF2-40B4-BE49-F238E27FC236}">
                <a16:creationId xmlns:a16="http://schemas.microsoft.com/office/drawing/2014/main" id="{72B8CEC4-B0CD-4400-A6AD-DD3E12310A92}"/>
              </a:ext>
            </a:extLst>
          </p:cNvPr>
          <p:cNvSpPr>
            <a:spLocks noGrp="1"/>
          </p:cNvSpPr>
          <p:nvPr>
            <p:ph type="title" hasCustomPrompt="1"/>
          </p:nvPr>
        </p:nvSpPr>
        <p:spPr/>
        <p:txBody>
          <a:bodyPr/>
          <a:lstStyle>
            <a:lvl1pPr>
              <a:defRPr/>
            </a:lvl1pPr>
          </a:lstStyle>
          <a:p>
            <a:r>
              <a:rPr lang="en-US" dirty="0"/>
              <a:t>Title Only Layout</a:t>
            </a:r>
          </a:p>
        </p:txBody>
      </p:sp>
    </p:spTree>
    <p:extLst>
      <p:ext uri="{BB962C8B-B14F-4D97-AF65-F5344CB8AC3E}">
        <p14:creationId xmlns:p14="http://schemas.microsoft.com/office/powerpoint/2010/main" val="13761822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ne Column">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1129284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One Column Layout</a:t>
            </a:r>
          </a:p>
        </p:txBody>
      </p:sp>
    </p:spTree>
    <p:extLst>
      <p:ext uri="{BB962C8B-B14F-4D97-AF65-F5344CB8AC3E}">
        <p14:creationId xmlns:p14="http://schemas.microsoft.com/office/powerpoint/2010/main" val="4500251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6208776"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75000"/>
                    <a:lumOff val="2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869"/>
            <a:ext cx="5532120" cy="4479059"/>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3208BA35-76C2-4ED8-B770-6CBDC27C821F}"/>
              </a:ext>
            </a:extLst>
          </p:cNvPr>
          <p:cNvSpPr>
            <a:spLocks noGrp="1"/>
          </p:cNvSpPr>
          <p:nvPr>
            <p:ph type="ftr" sz="quarter" idx="16"/>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A0187FFC-2B63-49CE-B2BC-B238E1BC79DB}"/>
              </a:ext>
            </a:extLst>
          </p:cNvPr>
          <p:cNvSpPr>
            <a:spLocks noGrp="1"/>
          </p:cNvSpPr>
          <p:nvPr>
            <p:ph type="title" hasCustomPrompt="1"/>
          </p:nvPr>
        </p:nvSpPr>
        <p:spPr/>
        <p:txBody>
          <a:bodyPr/>
          <a:lstStyle>
            <a:lvl1pPr>
              <a:defRPr/>
            </a:lvl1pPr>
          </a:lstStyle>
          <a:p>
            <a:r>
              <a:rPr lang="en-US" dirty="0"/>
              <a:t>Two Column Layout</a:t>
            </a:r>
          </a:p>
        </p:txBody>
      </p:sp>
    </p:spTree>
    <p:extLst>
      <p:ext uri="{BB962C8B-B14F-4D97-AF65-F5344CB8AC3E}">
        <p14:creationId xmlns:p14="http://schemas.microsoft.com/office/powerpoint/2010/main" val="1645166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4E7D5292-8D24-405D-9E5D-79D2DD40F684}"/>
              </a:ext>
            </a:extLst>
          </p:cNvPr>
          <p:cNvSpPr>
            <a:spLocks noGrp="1"/>
          </p:cNvSpPr>
          <p:nvPr>
            <p:ph sz="quarter" idx="16"/>
          </p:nvPr>
        </p:nvSpPr>
        <p:spPr>
          <a:xfrm>
            <a:off x="8129016" y="1802869"/>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0" name="Content Placeholder 9">
            <a:extLst>
              <a:ext uri="{FF2B5EF4-FFF2-40B4-BE49-F238E27FC236}">
                <a16:creationId xmlns:a16="http://schemas.microsoft.com/office/drawing/2014/main" id="{4419DE35-D0AB-4348-89C4-2714CF5EEDE7}"/>
              </a:ext>
            </a:extLst>
          </p:cNvPr>
          <p:cNvSpPr>
            <a:spLocks noGrp="1"/>
          </p:cNvSpPr>
          <p:nvPr>
            <p:ph sz="quarter" idx="15"/>
          </p:nvPr>
        </p:nvSpPr>
        <p:spPr>
          <a:xfrm>
            <a:off x="4289298"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2424"/>
            <a:ext cx="3611880" cy="4479504"/>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6504F64A-6956-41D3-B0E4-CCC3453A7F77}"/>
              </a:ext>
            </a:extLst>
          </p:cNvPr>
          <p:cNvSpPr>
            <a:spLocks noGrp="1"/>
          </p:cNvSpPr>
          <p:nvPr>
            <p:ph type="ftr" sz="quarter" idx="17"/>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D9030608-2773-46C2-905B-B17C3B831C19}"/>
              </a:ext>
            </a:extLst>
          </p:cNvPr>
          <p:cNvSpPr>
            <a:spLocks noGrp="1"/>
          </p:cNvSpPr>
          <p:nvPr>
            <p:ph type="title" hasCustomPrompt="1"/>
          </p:nvPr>
        </p:nvSpPr>
        <p:spPr/>
        <p:txBody>
          <a:bodyPr/>
          <a:lstStyle>
            <a:lvl1pPr>
              <a:defRPr/>
            </a:lvl1pPr>
          </a:lstStyle>
          <a:p>
            <a:r>
              <a:rPr lang="en-US" dirty="0"/>
              <a:t>Three Column Layout</a:t>
            </a:r>
          </a:p>
        </p:txBody>
      </p:sp>
    </p:spTree>
    <p:extLst>
      <p:ext uri="{BB962C8B-B14F-4D97-AF65-F5344CB8AC3E}">
        <p14:creationId xmlns:p14="http://schemas.microsoft.com/office/powerpoint/2010/main" val="31144571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hoto Rig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9E3BF3-DA31-48DD-AC45-91FC2DBAAD4C}"/>
              </a:ext>
            </a:extLst>
          </p:cNvPr>
          <p:cNvSpPr>
            <a:spLocks noGrp="1"/>
          </p:cNvSpPr>
          <p:nvPr>
            <p:ph type="pic" sz="quarter" idx="15" hasCustomPrompt="1"/>
          </p:nvPr>
        </p:nvSpPr>
        <p:spPr>
          <a:xfrm>
            <a:off x="5251704" y="0"/>
            <a:ext cx="6940296" cy="6858000"/>
          </a:xfrm>
          <a:solidFill>
            <a:schemeClr val="bg1">
              <a:lumMod val="85000"/>
            </a:schemeClr>
          </a:solidFill>
        </p:spPr>
        <p:txBody>
          <a:bodyPr vert="horz" lIns="0" tIns="0" rIns="0" bIns="822960" rtlCol="0" anchor="ctr">
            <a:noAutofit/>
          </a:bodyPr>
          <a:lstStyle>
            <a:lvl1pPr marL="0" indent="0" algn="ctr">
              <a:buFont typeface="Arial" panose="020B0604020202020204" pitchFamily="34" charset="0"/>
              <a:buNone/>
              <a:defRPr lang="en-US" sz="1800">
                <a:solidFill>
                  <a:schemeClr val="tx1"/>
                </a:solidFill>
              </a:defRPr>
            </a:lvl1pPr>
          </a:lstStyle>
          <a:p>
            <a:pPr lvl="0" algn="ctr"/>
            <a:r>
              <a:rPr lang="en-US" dirty="0"/>
              <a:t>Click icon below to insert picture</a:t>
            </a:r>
          </a:p>
        </p:txBody>
      </p:sp>
      <p:sp>
        <p:nvSpPr>
          <p:cNvPr id="12" name="Content Placeholder 11">
            <a:extLst>
              <a:ext uri="{FF2B5EF4-FFF2-40B4-BE49-F238E27FC236}">
                <a16:creationId xmlns:a16="http://schemas.microsoft.com/office/drawing/2014/main" id="{6D468E16-0E6F-4B64-BCD8-5D8D8376E1AB}"/>
              </a:ext>
            </a:extLst>
          </p:cNvPr>
          <p:cNvSpPr>
            <a:spLocks noGrp="1"/>
          </p:cNvSpPr>
          <p:nvPr>
            <p:ph sz="quarter" idx="14"/>
          </p:nvPr>
        </p:nvSpPr>
        <p:spPr>
          <a:xfrm>
            <a:off x="449580" y="1801368"/>
            <a:ext cx="4206240" cy="4480560"/>
          </a:xfrm>
        </p:spPr>
        <p:txBody>
          <a:bodyPr/>
          <a:lstStyle>
            <a:lvl1pPr>
              <a:defRPr>
                <a:solidFill>
                  <a:schemeClr val="tx1">
                    <a:lumMod val="85000"/>
                    <a:lumOff val="15000"/>
                  </a:schemeClr>
                </a:solidFill>
              </a:defRPr>
            </a:lvl1pPr>
            <a:lvl2pPr>
              <a:defRPr>
                <a:solidFill>
                  <a:schemeClr val="tx1">
                    <a:lumMod val="85000"/>
                    <a:lumOff val="15000"/>
                  </a:schemeClr>
                </a:solidFill>
              </a:defRPr>
            </a:lvl2pPr>
            <a:lvl3pPr>
              <a:defRPr>
                <a:solidFill>
                  <a:schemeClr val="tx1">
                    <a:lumMod val="85000"/>
                    <a:lumOff val="15000"/>
                  </a:schemeClr>
                </a:solidFill>
              </a:defRPr>
            </a:lvl3pPr>
            <a:lvl5pPr>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420624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I.N.U.)</a:t>
            </a:r>
          </a:p>
        </p:txBody>
      </p:sp>
      <p:sp>
        <p:nvSpPr>
          <p:cNvPr id="2" name="Title">
            <a:extLst>
              <a:ext uri="{FF2B5EF4-FFF2-40B4-BE49-F238E27FC236}">
                <a16:creationId xmlns:a16="http://schemas.microsoft.com/office/drawing/2014/main" id="{AD051183-1C65-4067-A80F-CAB4F09E82D7}"/>
              </a:ext>
            </a:extLst>
          </p:cNvPr>
          <p:cNvSpPr>
            <a:spLocks noGrp="1"/>
          </p:cNvSpPr>
          <p:nvPr>
            <p:ph type="title" hasCustomPrompt="1"/>
          </p:nvPr>
        </p:nvSpPr>
        <p:spPr>
          <a:xfrm>
            <a:off x="449202" y="372339"/>
            <a:ext cx="4206240" cy="492443"/>
          </a:xfrm>
        </p:spPr>
        <p:txBody>
          <a:bodyPr>
            <a:noAutofit/>
          </a:bodyPr>
          <a:lstStyle>
            <a:lvl1pPr>
              <a:defRPr/>
            </a:lvl1pPr>
          </a:lstStyle>
          <a:p>
            <a:r>
              <a:rPr lang="en-US" dirty="0"/>
              <a:t>Photo Right Layout</a:t>
            </a:r>
          </a:p>
        </p:txBody>
      </p:sp>
    </p:spTree>
    <p:extLst>
      <p:ext uri="{BB962C8B-B14F-4D97-AF65-F5344CB8AC3E}">
        <p14:creationId xmlns:p14="http://schemas.microsoft.com/office/powerpoint/2010/main" val="3141418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mbered One Column">
    <p:spTree>
      <p:nvGrpSpPr>
        <p:cNvPr id="1" name=""/>
        <p:cNvGrpSpPr/>
        <p:nvPr/>
      </p:nvGrpSpPr>
      <p:grpSpPr>
        <a:xfrm>
          <a:off x="0" y="0"/>
          <a:ext cx="0" cy="0"/>
          <a:chOff x="0" y="0"/>
          <a:chExt cx="0" cy="0"/>
        </a:xfrm>
      </p:grpSpPr>
      <p:sp>
        <p:nvSpPr>
          <p:cNvPr id="8" name="Subtitle">
            <a:extLst>
              <a:ext uri="{FF2B5EF4-FFF2-40B4-BE49-F238E27FC236}">
                <a16:creationId xmlns:a16="http://schemas.microsoft.com/office/drawing/2014/main" id="{DFCA12C4-AE90-4F31-9EA7-3AA24CB39148}"/>
              </a:ext>
            </a:extLst>
          </p:cNvPr>
          <p:cNvSpPr>
            <a:spLocks noGrp="1"/>
          </p:cNvSpPr>
          <p:nvPr>
            <p:ph type="body" sz="quarter" idx="13" hasCustomPrompt="1"/>
          </p:nvPr>
        </p:nvSpPr>
        <p:spPr bwMode="ltGray">
          <a:xfrm>
            <a:off x="449201" y="920555"/>
            <a:ext cx="7453790" cy="393954"/>
          </a:xfrm>
          <a:gradFill>
            <a:gsLst>
              <a:gs pos="0">
                <a:schemeClr val="accent1"/>
              </a:gs>
              <a:gs pos="100000">
                <a:schemeClr val="accent1">
                  <a:lumMod val="50000"/>
                </a:schemeClr>
              </a:gs>
            </a:gsLst>
            <a:lin ang="5400000" scaled="1"/>
          </a:gradFill>
        </p:spPr>
        <p:txBody>
          <a:bodyPr vert="horz" lIns="137160" tIns="73152" rIns="137160" bIns="73152" rtlCol="0" anchor="ctr">
            <a:spAutoFit/>
          </a:bodyPr>
          <a:lstStyle>
            <a:lvl1pPr marL="0" indent="0">
              <a:buNone/>
              <a:defRPr lang="en-US" sz="1600" b="1" kern="1200" cap="all" spc="300" baseline="0" dirty="0">
                <a:solidFill>
                  <a:schemeClr val="bg1"/>
                </a:solidFill>
                <a:latin typeface="+mn-lt"/>
                <a:ea typeface="+mn-ea"/>
                <a:cs typeface="+mn-cs"/>
              </a:defRPr>
            </a:lvl1pPr>
          </a:lstStyle>
          <a:p>
            <a:pPr marL="285750" lvl="0" indent="-285750" algn="l" defTabSz="914400" rtl="0" eaLnBrk="1" latinLnBrk="0" hangingPunct="1">
              <a:lnSpc>
                <a:spcPct val="100000"/>
              </a:lnSpc>
              <a:spcBef>
                <a:spcPts val="1000"/>
              </a:spcBef>
              <a:buClr>
                <a:schemeClr val="accent1"/>
              </a:buClr>
            </a:pPr>
            <a:r>
              <a:rPr lang="en-US" dirty="0"/>
              <a:t>Subtitle (Delete if not used)</a:t>
            </a:r>
          </a:p>
        </p:txBody>
      </p:sp>
      <p:sp>
        <p:nvSpPr>
          <p:cNvPr id="3" name="Footer Placeholder 2">
            <a:extLst>
              <a:ext uri="{FF2B5EF4-FFF2-40B4-BE49-F238E27FC236}">
                <a16:creationId xmlns:a16="http://schemas.microsoft.com/office/drawing/2014/main" id="{9EF94C0C-A1DE-4B4E-81B9-17917168456C}"/>
              </a:ext>
            </a:extLst>
          </p:cNvPr>
          <p:cNvSpPr>
            <a:spLocks noGrp="1"/>
          </p:cNvSpPr>
          <p:nvPr>
            <p:ph type="ftr" sz="quarter" idx="15"/>
          </p:nvPr>
        </p:nvSpPr>
        <p:spPr/>
        <p:txBody>
          <a:bodyPr/>
          <a:lstStyle/>
          <a:p>
            <a:r>
              <a:rPr lang="en-US"/>
              <a:t>Optional Title of the Presentation</a:t>
            </a:r>
            <a:endParaRPr lang="en-US" dirty="0"/>
          </a:p>
        </p:txBody>
      </p:sp>
      <p:sp>
        <p:nvSpPr>
          <p:cNvPr id="4" name="Title 3">
            <a:extLst>
              <a:ext uri="{FF2B5EF4-FFF2-40B4-BE49-F238E27FC236}">
                <a16:creationId xmlns:a16="http://schemas.microsoft.com/office/drawing/2014/main" id="{856CA66E-0730-4548-BD28-48477B0C3CAB}"/>
              </a:ext>
            </a:extLst>
          </p:cNvPr>
          <p:cNvSpPr>
            <a:spLocks noGrp="1"/>
          </p:cNvSpPr>
          <p:nvPr>
            <p:ph type="title" hasCustomPrompt="1"/>
          </p:nvPr>
        </p:nvSpPr>
        <p:spPr/>
        <p:txBody>
          <a:bodyPr/>
          <a:lstStyle>
            <a:lvl1pPr>
              <a:defRPr/>
            </a:lvl1pPr>
          </a:lstStyle>
          <a:p>
            <a:r>
              <a:rPr lang="en-US" dirty="0"/>
              <a:t>Numbered One Column Layout</a:t>
            </a:r>
          </a:p>
        </p:txBody>
      </p:sp>
      <p:sp>
        <p:nvSpPr>
          <p:cNvPr id="10" name="Content Placeholder 11">
            <a:extLst>
              <a:ext uri="{FF2B5EF4-FFF2-40B4-BE49-F238E27FC236}">
                <a16:creationId xmlns:a16="http://schemas.microsoft.com/office/drawing/2014/main" id="{4DE42E10-C02B-493C-892E-5A8A326E7885}"/>
              </a:ext>
            </a:extLst>
          </p:cNvPr>
          <p:cNvSpPr>
            <a:spLocks noGrp="1"/>
          </p:cNvSpPr>
          <p:nvPr>
            <p:ph sz="quarter" idx="14"/>
          </p:nvPr>
        </p:nvSpPr>
        <p:spPr>
          <a:xfrm>
            <a:off x="449580" y="1802869"/>
            <a:ext cx="11292840" cy="4479059"/>
          </a:xfrm>
        </p:spPr>
        <p:txBody>
          <a:bodyPr/>
          <a:lstStyle>
            <a:lvl1pPr marL="344488" indent="-344488">
              <a:buFont typeface="+mj-lt"/>
              <a:buAutoNum type="arabicPeriod"/>
              <a:tabLst>
                <a:tab pos="288925" algn="l"/>
              </a:tabLst>
              <a:defRPr>
                <a:solidFill>
                  <a:schemeClr val="tx1">
                    <a:lumMod val="85000"/>
                    <a:lumOff val="15000"/>
                  </a:schemeClr>
                </a:solidFill>
              </a:defRPr>
            </a:lvl1pPr>
            <a:lvl2pPr marL="515938" indent="-163513">
              <a:defRPr>
                <a:solidFill>
                  <a:schemeClr val="tx1">
                    <a:lumMod val="85000"/>
                    <a:lumOff val="15000"/>
                  </a:schemeClr>
                </a:solidFill>
              </a:defRPr>
            </a:lvl2pPr>
            <a:lvl3pPr marL="687388" indent="-163513">
              <a:defRPr>
                <a:solidFill>
                  <a:schemeClr val="tx1">
                    <a:lumMod val="85000"/>
                    <a:lumOff val="15000"/>
                  </a:schemeClr>
                </a:solidFill>
              </a:defRPr>
            </a:lvl3pPr>
            <a:lvl4pPr marL="860425" indent="-171450">
              <a:defRPr/>
            </a:lvl4pPr>
            <a:lvl5pPr marL="1031875" indent="-171450">
              <a:defRPr>
                <a:solidFill>
                  <a:schemeClr val="tx1">
                    <a:lumMod val="85000"/>
                    <a:lumOff val="15000"/>
                  </a:schemeClr>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Tree>
    <p:extLst>
      <p:ext uri="{BB962C8B-B14F-4D97-AF65-F5344CB8AC3E}">
        <p14:creationId xmlns:p14="http://schemas.microsoft.com/office/powerpoint/2010/main" val="3244145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3" name="Slide Number">
            <a:extLst>
              <a:ext uri="{FF2B5EF4-FFF2-40B4-BE49-F238E27FC236}">
                <a16:creationId xmlns:a16="http://schemas.microsoft.com/office/drawing/2014/main" id="{9773789E-1482-4DF2-AC34-ED595BC86F6F}"/>
              </a:ext>
            </a:extLst>
          </p:cNvPr>
          <p:cNvSpPr txBox="1">
            <a:spLocks/>
          </p:cNvSpPr>
          <p:nvPr userDrawn="1"/>
        </p:nvSpPr>
        <p:spPr bwMode="gray">
          <a:xfrm>
            <a:off x="11006977" y="6447297"/>
            <a:ext cx="735822" cy="153888"/>
          </a:xfrm>
          <a:prstGeom prst="rect">
            <a:avLst/>
          </a:prstGeom>
        </p:spPr>
        <p:txBody>
          <a:bodyPr vert="horz" wrap="square" lIns="0" tIns="0" rIns="0" bIns="0" rtlCol="0" anchor="ctr">
            <a:noAutofit/>
          </a:bodyPr>
          <a:lstStyle>
            <a:defPPr>
              <a:defRPr lang="en-US"/>
            </a:defPPr>
            <a:lvl1pPr marL="0" algn="r" defTabSz="457200" rtl="0" eaLnBrk="1" latinLnBrk="0" hangingPunct="1">
              <a:defRPr sz="1000" kern="1200">
                <a:solidFill>
                  <a:schemeClr val="bg1">
                    <a:lumMod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20862D98-B5C3-4BE4-8A34-4F5B36AB20BC}" type="slidenum">
              <a:rPr lang="en-US" smtClean="0">
                <a:solidFill>
                  <a:schemeClr val="bg1">
                    <a:lumMod val="65000"/>
                  </a:schemeClr>
                </a:solidFill>
              </a:rPr>
              <a:pPr/>
              <a:t>‹#›</a:t>
            </a:fld>
            <a:endParaRPr lang="en-US" dirty="0">
              <a:solidFill>
                <a:schemeClr val="bg1">
                  <a:lumMod val="65000"/>
                </a:schemeClr>
              </a:solidFill>
            </a:endParaRPr>
          </a:p>
        </p:txBody>
      </p:sp>
      <p:sp>
        <p:nvSpPr>
          <p:cNvPr id="71" name="Text Placeholder 70">
            <a:extLst>
              <a:ext uri="{FF2B5EF4-FFF2-40B4-BE49-F238E27FC236}">
                <a16:creationId xmlns:a16="http://schemas.microsoft.com/office/drawing/2014/main" id="{14A8E363-B738-48A5-915F-96EF63027B46}"/>
              </a:ext>
            </a:extLst>
          </p:cNvPr>
          <p:cNvSpPr>
            <a:spLocks noGrp="1"/>
          </p:cNvSpPr>
          <p:nvPr>
            <p:ph type="body" idx="1"/>
          </p:nvPr>
        </p:nvSpPr>
        <p:spPr>
          <a:xfrm>
            <a:off x="449201" y="1802870"/>
            <a:ext cx="11293597" cy="4475704"/>
          </a:xfrm>
          <a:prstGeom prst="rect">
            <a:avLst/>
          </a:prstGeom>
        </p:spPr>
        <p:txBody>
          <a:bodyPr vert="horz" lIns="0" tIns="0" rIns="0" bIns="0" rtlCol="0">
            <a:noAutofit/>
          </a:bodyPr>
          <a:lstStyle/>
          <a:p>
            <a:pPr lvl="0"/>
            <a:r>
              <a:rPr lang="en-US" dirty="0"/>
              <a:t>First level: Bullet, 20pt</a:t>
            </a:r>
          </a:p>
          <a:p>
            <a:pPr lvl="1"/>
            <a:r>
              <a:rPr lang="en-US" dirty="0"/>
              <a:t>Second level: Sub-bullet 1, 18pt</a:t>
            </a:r>
          </a:p>
          <a:p>
            <a:pPr lvl="2"/>
            <a:r>
              <a:rPr lang="en-US" dirty="0"/>
              <a:t>Third level: Sub-bullet 2, 16pt</a:t>
            </a:r>
          </a:p>
          <a:p>
            <a:pPr lvl="3"/>
            <a:r>
              <a:rPr lang="en-US" dirty="0"/>
              <a:t>Fourth level: Sub-bullet 3, 14pt</a:t>
            </a:r>
          </a:p>
          <a:p>
            <a:pPr lvl="4"/>
            <a:r>
              <a:rPr lang="en-US" dirty="0"/>
              <a:t>Fifth level: Sub-bullet 4, 12pt</a:t>
            </a:r>
          </a:p>
        </p:txBody>
      </p:sp>
      <p:sp>
        <p:nvSpPr>
          <p:cNvPr id="2" name="Title"/>
          <p:cNvSpPr>
            <a:spLocks noGrp="1"/>
          </p:cNvSpPr>
          <p:nvPr>
            <p:ph type="title"/>
          </p:nvPr>
        </p:nvSpPr>
        <p:spPr>
          <a:xfrm>
            <a:off x="449202" y="372339"/>
            <a:ext cx="11293597" cy="492443"/>
          </a:xfrm>
          <a:prstGeom prst="rect">
            <a:avLst/>
          </a:prstGeom>
        </p:spPr>
        <p:txBody>
          <a:bodyPr vert="horz" lIns="0" tIns="0" rIns="0" bIns="0" rtlCol="0" anchor="t">
            <a:noAutofit/>
          </a:bodyPr>
          <a:lstStyle/>
          <a:p>
            <a:r>
              <a:rPr lang="en-US" dirty="0"/>
              <a:t>Title, 32pt</a:t>
            </a:r>
          </a:p>
        </p:txBody>
      </p:sp>
      <p:grpSp>
        <p:nvGrpSpPr>
          <p:cNvPr id="8" name="Logo">
            <a:extLst>
              <a:ext uri="{FF2B5EF4-FFF2-40B4-BE49-F238E27FC236}">
                <a16:creationId xmlns:a16="http://schemas.microsoft.com/office/drawing/2014/main" id="{CBB5A743-284E-4F77-9C07-20F6113DB3BD}"/>
              </a:ext>
            </a:extLst>
          </p:cNvPr>
          <p:cNvGrpSpPr>
            <a:grpSpLocks noChangeAspect="1"/>
          </p:cNvGrpSpPr>
          <p:nvPr userDrawn="1"/>
        </p:nvGrpSpPr>
        <p:grpSpPr bwMode="black">
          <a:xfrm>
            <a:off x="428653" y="6447297"/>
            <a:ext cx="914400" cy="214552"/>
            <a:chOff x="1231901" y="5359401"/>
            <a:chExt cx="11210925" cy="2630487"/>
          </a:xfrm>
        </p:grpSpPr>
        <p:sp>
          <p:nvSpPr>
            <p:cNvPr id="9" name="Freeform 5">
              <a:extLst>
                <a:ext uri="{FF2B5EF4-FFF2-40B4-BE49-F238E27FC236}">
                  <a16:creationId xmlns:a16="http://schemas.microsoft.com/office/drawing/2014/main" id="{BB597971-37D3-4BC0-93F4-2E4A0C596B82}"/>
                </a:ext>
              </a:extLst>
            </p:cNvPr>
            <p:cNvSpPr>
              <a:spLocks noEditPoints="1"/>
            </p:cNvSpPr>
            <p:nvPr userDrawn="1"/>
          </p:nvSpPr>
          <p:spPr bwMode="black">
            <a:xfrm>
              <a:off x="5105401" y="5586413"/>
              <a:ext cx="7337425" cy="2147887"/>
            </a:xfrm>
            <a:custGeom>
              <a:avLst/>
              <a:gdLst>
                <a:gd name="T0" fmla="*/ 0 w 3931"/>
                <a:gd name="T1" fmla="*/ 803 h 1148"/>
                <a:gd name="T2" fmla="*/ 552 w 3931"/>
                <a:gd name="T3" fmla="*/ 1142 h 1148"/>
                <a:gd name="T4" fmla="*/ 388 w 3931"/>
                <a:gd name="T5" fmla="*/ 853 h 1148"/>
                <a:gd name="T6" fmla="*/ 388 w 3931"/>
                <a:gd name="T7" fmla="*/ 1092 h 1148"/>
                <a:gd name="T8" fmla="*/ 620 w 3931"/>
                <a:gd name="T9" fmla="*/ 974 h 1148"/>
                <a:gd name="T10" fmla="*/ 887 w 3931"/>
                <a:gd name="T11" fmla="*/ 900 h 1148"/>
                <a:gd name="T12" fmla="*/ 701 w 3931"/>
                <a:gd name="T13" fmla="*/ 877 h 1148"/>
                <a:gd name="T14" fmla="*/ 828 w 3931"/>
                <a:gd name="T15" fmla="*/ 1048 h 1148"/>
                <a:gd name="T16" fmla="*/ 762 w 3931"/>
                <a:gd name="T17" fmla="*/ 1148 h 1148"/>
                <a:gd name="T18" fmla="*/ 1018 w 3931"/>
                <a:gd name="T19" fmla="*/ 1142 h 1148"/>
                <a:gd name="T20" fmla="*/ 1169 w 3931"/>
                <a:gd name="T21" fmla="*/ 943 h 1148"/>
                <a:gd name="T22" fmla="*/ 1533 w 3931"/>
                <a:gd name="T23" fmla="*/ 1142 h 1148"/>
                <a:gd name="T24" fmla="*/ 1327 w 3931"/>
                <a:gd name="T25" fmla="*/ 803 h 1148"/>
                <a:gd name="T26" fmla="*/ 1596 w 3931"/>
                <a:gd name="T27" fmla="*/ 1142 h 1148"/>
                <a:gd name="T28" fmla="*/ 1719 w 3931"/>
                <a:gd name="T29" fmla="*/ 844 h 1148"/>
                <a:gd name="T30" fmla="*/ 1834 w 3931"/>
                <a:gd name="T31" fmla="*/ 1148 h 1148"/>
                <a:gd name="T32" fmla="*/ 1833 w 3931"/>
                <a:gd name="T33" fmla="*/ 1099 h 1148"/>
                <a:gd name="T34" fmla="*/ 2274 w 3931"/>
                <a:gd name="T35" fmla="*/ 1142 h 1148"/>
                <a:gd name="T36" fmla="*/ 2274 w 3931"/>
                <a:gd name="T37" fmla="*/ 1092 h 1148"/>
                <a:gd name="T38" fmla="*/ 2360 w 3931"/>
                <a:gd name="T39" fmla="*/ 844 h 1148"/>
                <a:gd name="T40" fmla="*/ 2475 w 3931"/>
                <a:gd name="T41" fmla="*/ 1148 h 1148"/>
                <a:gd name="T42" fmla="*/ 2475 w 3931"/>
                <a:gd name="T43" fmla="*/ 1099 h 1148"/>
                <a:gd name="T44" fmla="*/ 2862 w 3931"/>
                <a:gd name="T45" fmla="*/ 1148 h 1148"/>
                <a:gd name="T46" fmla="*/ 2949 w 3931"/>
                <a:gd name="T47" fmla="*/ 822 h 1148"/>
                <a:gd name="T48" fmla="*/ 2905 w 3931"/>
                <a:gd name="T49" fmla="*/ 856 h 1148"/>
                <a:gd name="T50" fmla="*/ 2864 w 3931"/>
                <a:gd name="T51" fmla="*/ 1101 h 1148"/>
                <a:gd name="T52" fmla="*/ 2857 w 3931"/>
                <a:gd name="T53" fmla="*/ 955 h 1148"/>
                <a:gd name="T54" fmla="*/ 2862 w 3931"/>
                <a:gd name="T55" fmla="*/ 1148 h 1148"/>
                <a:gd name="T56" fmla="*/ 3139 w 3931"/>
                <a:gd name="T57" fmla="*/ 1142 h 1148"/>
                <a:gd name="T58" fmla="*/ 3458 w 3931"/>
                <a:gd name="T59" fmla="*/ 853 h 1148"/>
                <a:gd name="T60" fmla="*/ 3298 w 3931"/>
                <a:gd name="T61" fmla="*/ 991 h 1148"/>
                <a:gd name="T62" fmla="*/ 3562 w 3931"/>
                <a:gd name="T63" fmla="*/ 1123 h 1148"/>
                <a:gd name="T64" fmla="*/ 3606 w 3931"/>
                <a:gd name="T65" fmla="*/ 1084 h 1148"/>
                <a:gd name="T66" fmla="*/ 3647 w 3931"/>
                <a:gd name="T67" fmla="*/ 991 h 1148"/>
                <a:gd name="T68" fmla="*/ 3569 w 3931"/>
                <a:gd name="T69" fmla="*/ 824 h 1148"/>
                <a:gd name="T70" fmla="*/ 3724 w 3931"/>
                <a:gd name="T71" fmla="*/ 895 h 1148"/>
                <a:gd name="T72" fmla="*/ 3591 w 3931"/>
                <a:gd name="T73" fmla="*/ 893 h 1148"/>
                <a:gd name="T74" fmla="*/ 3754 w 3931"/>
                <a:gd name="T75" fmla="*/ 1120 h 1148"/>
                <a:gd name="T76" fmla="*/ 152 w 3931"/>
                <a:gd name="T77" fmla="*/ 268 h 1148"/>
                <a:gd name="T78" fmla="*/ 361 w 3931"/>
                <a:gd name="T79" fmla="*/ 605 h 1148"/>
                <a:gd name="T80" fmla="*/ 553 w 3931"/>
                <a:gd name="T81" fmla="*/ 11 h 1148"/>
                <a:gd name="T82" fmla="*/ 931 w 3931"/>
                <a:gd name="T83" fmla="*/ 249 h 1148"/>
                <a:gd name="T84" fmla="*/ 957 w 3931"/>
                <a:gd name="T85" fmla="*/ 605 h 1148"/>
                <a:gd name="T86" fmla="*/ 1123 w 3931"/>
                <a:gd name="T87" fmla="*/ 11 h 1148"/>
                <a:gd name="T88" fmla="*/ 1317 w 3931"/>
                <a:gd name="T89" fmla="*/ 605 h 1148"/>
                <a:gd name="T90" fmla="*/ 1746 w 3931"/>
                <a:gd name="T91" fmla="*/ 531 h 1148"/>
                <a:gd name="T92" fmla="*/ 1687 w 3931"/>
                <a:gd name="T93" fmla="*/ 337 h 1148"/>
                <a:gd name="T94" fmla="*/ 1749 w 3931"/>
                <a:gd name="T95" fmla="*/ 0 h 1148"/>
                <a:gd name="T96" fmla="*/ 1813 w 3931"/>
                <a:gd name="T97" fmla="*/ 106 h 1148"/>
                <a:gd name="T98" fmla="*/ 1797 w 3931"/>
                <a:gd name="T99" fmla="*/ 262 h 1148"/>
                <a:gd name="T100" fmla="*/ 1563 w 3931"/>
                <a:gd name="T101" fmla="*/ 567 h 1148"/>
                <a:gd name="T102" fmla="*/ 2188 w 3931"/>
                <a:gd name="T103" fmla="*/ 605 h 1148"/>
                <a:gd name="T104" fmla="*/ 2711 w 3931"/>
                <a:gd name="T105" fmla="*/ 603 h 1148"/>
                <a:gd name="T106" fmla="*/ 2582 w 3931"/>
                <a:gd name="T107" fmla="*/ 1 h 1148"/>
                <a:gd name="T108" fmla="*/ 2664 w 3931"/>
                <a:gd name="T109" fmla="*/ 111 h 1148"/>
                <a:gd name="T110" fmla="*/ 2595 w 3931"/>
                <a:gd name="T111" fmla="*/ 525 h 1148"/>
                <a:gd name="T112" fmla="*/ 2579 w 3931"/>
                <a:gd name="T113" fmla="*/ 288 h 1148"/>
                <a:gd name="T114" fmla="*/ 3048 w 3931"/>
                <a:gd name="T115" fmla="*/ 248 h 1148"/>
                <a:gd name="T116" fmla="*/ 3273 w 3931"/>
                <a:gd name="T117" fmla="*/ 605 h 1148"/>
                <a:gd name="T118" fmla="*/ 3628 w 3931"/>
                <a:gd name="T119" fmla="*/ 605 h 1148"/>
                <a:gd name="T120" fmla="*/ 3931 w 3931"/>
                <a:gd name="T121" fmla="*/ 1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31" h="1148">
                  <a:moveTo>
                    <a:pt x="163" y="1142"/>
                  </a:moveTo>
                  <a:cubicBezTo>
                    <a:pt x="109" y="1142"/>
                    <a:pt x="109" y="1142"/>
                    <a:pt x="109" y="1142"/>
                  </a:cubicBezTo>
                  <a:cubicBezTo>
                    <a:pt x="109" y="853"/>
                    <a:pt x="109" y="853"/>
                    <a:pt x="109" y="853"/>
                  </a:cubicBezTo>
                  <a:cubicBezTo>
                    <a:pt x="0" y="853"/>
                    <a:pt x="0" y="853"/>
                    <a:pt x="0" y="853"/>
                  </a:cubicBezTo>
                  <a:cubicBezTo>
                    <a:pt x="0" y="803"/>
                    <a:pt x="0" y="803"/>
                    <a:pt x="0" y="803"/>
                  </a:cubicBezTo>
                  <a:cubicBezTo>
                    <a:pt x="273" y="803"/>
                    <a:pt x="273" y="803"/>
                    <a:pt x="273" y="803"/>
                  </a:cubicBezTo>
                  <a:cubicBezTo>
                    <a:pt x="273" y="853"/>
                    <a:pt x="273" y="853"/>
                    <a:pt x="273" y="853"/>
                  </a:cubicBezTo>
                  <a:cubicBezTo>
                    <a:pt x="163" y="853"/>
                    <a:pt x="163" y="853"/>
                    <a:pt x="163" y="853"/>
                  </a:cubicBezTo>
                  <a:lnTo>
                    <a:pt x="163" y="1142"/>
                  </a:lnTo>
                  <a:close/>
                  <a:moveTo>
                    <a:pt x="552" y="1142"/>
                  </a:moveTo>
                  <a:cubicBezTo>
                    <a:pt x="334" y="1142"/>
                    <a:pt x="334" y="1142"/>
                    <a:pt x="334" y="1142"/>
                  </a:cubicBezTo>
                  <a:cubicBezTo>
                    <a:pt x="334" y="803"/>
                    <a:pt x="334" y="803"/>
                    <a:pt x="334" y="803"/>
                  </a:cubicBezTo>
                  <a:cubicBezTo>
                    <a:pt x="548" y="803"/>
                    <a:pt x="548" y="803"/>
                    <a:pt x="548" y="803"/>
                  </a:cubicBezTo>
                  <a:cubicBezTo>
                    <a:pt x="548" y="853"/>
                    <a:pt x="548" y="853"/>
                    <a:pt x="548" y="853"/>
                  </a:cubicBezTo>
                  <a:cubicBezTo>
                    <a:pt x="388" y="853"/>
                    <a:pt x="388" y="853"/>
                    <a:pt x="388" y="853"/>
                  </a:cubicBezTo>
                  <a:cubicBezTo>
                    <a:pt x="388" y="942"/>
                    <a:pt x="388" y="942"/>
                    <a:pt x="388" y="942"/>
                  </a:cubicBezTo>
                  <a:cubicBezTo>
                    <a:pt x="541" y="942"/>
                    <a:pt x="541" y="942"/>
                    <a:pt x="541" y="942"/>
                  </a:cubicBezTo>
                  <a:cubicBezTo>
                    <a:pt x="541" y="991"/>
                    <a:pt x="541" y="991"/>
                    <a:pt x="541" y="991"/>
                  </a:cubicBezTo>
                  <a:cubicBezTo>
                    <a:pt x="388" y="991"/>
                    <a:pt x="388" y="991"/>
                    <a:pt x="388" y="991"/>
                  </a:cubicBezTo>
                  <a:cubicBezTo>
                    <a:pt x="388" y="1092"/>
                    <a:pt x="388" y="1092"/>
                    <a:pt x="388" y="1092"/>
                  </a:cubicBezTo>
                  <a:cubicBezTo>
                    <a:pt x="552" y="1092"/>
                    <a:pt x="552" y="1092"/>
                    <a:pt x="552" y="1092"/>
                  </a:cubicBezTo>
                  <a:lnTo>
                    <a:pt x="552" y="1142"/>
                  </a:lnTo>
                  <a:close/>
                  <a:moveTo>
                    <a:pt x="762" y="1148"/>
                  </a:moveTo>
                  <a:cubicBezTo>
                    <a:pt x="716" y="1148"/>
                    <a:pt x="681" y="1133"/>
                    <a:pt x="656" y="1103"/>
                  </a:cubicBezTo>
                  <a:cubicBezTo>
                    <a:pt x="632" y="1073"/>
                    <a:pt x="620" y="1030"/>
                    <a:pt x="620" y="974"/>
                  </a:cubicBezTo>
                  <a:cubicBezTo>
                    <a:pt x="620" y="919"/>
                    <a:pt x="633" y="875"/>
                    <a:pt x="658" y="845"/>
                  </a:cubicBezTo>
                  <a:cubicBezTo>
                    <a:pt x="683" y="814"/>
                    <a:pt x="719" y="798"/>
                    <a:pt x="766" y="798"/>
                  </a:cubicBezTo>
                  <a:cubicBezTo>
                    <a:pt x="802" y="798"/>
                    <a:pt x="831" y="807"/>
                    <a:pt x="853" y="824"/>
                  </a:cubicBezTo>
                  <a:cubicBezTo>
                    <a:pt x="874" y="841"/>
                    <a:pt x="886" y="865"/>
                    <a:pt x="887" y="894"/>
                  </a:cubicBezTo>
                  <a:cubicBezTo>
                    <a:pt x="887" y="900"/>
                    <a:pt x="887" y="900"/>
                    <a:pt x="887" y="900"/>
                  </a:cubicBezTo>
                  <a:cubicBezTo>
                    <a:pt x="830" y="900"/>
                    <a:pt x="830" y="900"/>
                    <a:pt x="830" y="900"/>
                  </a:cubicBezTo>
                  <a:cubicBezTo>
                    <a:pt x="829" y="895"/>
                    <a:pt x="829" y="895"/>
                    <a:pt x="829" y="895"/>
                  </a:cubicBezTo>
                  <a:cubicBezTo>
                    <a:pt x="828" y="880"/>
                    <a:pt x="822" y="868"/>
                    <a:pt x="810" y="858"/>
                  </a:cubicBezTo>
                  <a:cubicBezTo>
                    <a:pt x="797" y="848"/>
                    <a:pt x="782" y="844"/>
                    <a:pt x="764" y="844"/>
                  </a:cubicBezTo>
                  <a:cubicBezTo>
                    <a:pt x="737" y="844"/>
                    <a:pt x="716" y="854"/>
                    <a:pt x="701" y="877"/>
                  </a:cubicBezTo>
                  <a:cubicBezTo>
                    <a:pt x="686" y="899"/>
                    <a:pt x="678" y="932"/>
                    <a:pt x="678" y="973"/>
                  </a:cubicBezTo>
                  <a:cubicBezTo>
                    <a:pt x="678" y="1014"/>
                    <a:pt x="685" y="1045"/>
                    <a:pt x="700" y="1067"/>
                  </a:cubicBezTo>
                  <a:cubicBezTo>
                    <a:pt x="715" y="1089"/>
                    <a:pt x="735" y="1099"/>
                    <a:pt x="762" y="1099"/>
                  </a:cubicBezTo>
                  <a:cubicBezTo>
                    <a:pt x="782" y="1099"/>
                    <a:pt x="797" y="1095"/>
                    <a:pt x="809" y="1086"/>
                  </a:cubicBezTo>
                  <a:cubicBezTo>
                    <a:pt x="820" y="1076"/>
                    <a:pt x="827" y="1064"/>
                    <a:pt x="828" y="1048"/>
                  </a:cubicBezTo>
                  <a:cubicBezTo>
                    <a:pt x="829" y="1043"/>
                    <a:pt x="829" y="1043"/>
                    <a:pt x="829" y="1043"/>
                  </a:cubicBezTo>
                  <a:cubicBezTo>
                    <a:pt x="888" y="1043"/>
                    <a:pt x="888" y="1043"/>
                    <a:pt x="888" y="1043"/>
                  </a:cubicBezTo>
                  <a:cubicBezTo>
                    <a:pt x="888" y="1049"/>
                    <a:pt x="888" y="1049"/>
                    <a:pt x="888" y="1049"/>
                  </a:cubicBezTo>
                  <a:cubicBezTo>
                    <a:pt x="887" y="1079"/>
                    <a:pt x="875" y="1103"/>
                    <a:pt x="852" y="1121"/>
                  </a:cubicBezTo>
                  <a:cubicBezTo>
                    <a:pt x="830" y="1139"/>
                    <a:pt x="800" y="1148"/>
                    <a:pt x="762" y="1148"/>
                  </a:cubicBezTo>
                  <a:moveTo>
                    <a:pt x="1223" y="1142"/>
                  </a:moveTo>
                  <a:cubicBezTo>
                    <a:pt x="1169" y="1142"/>
                    <a:pt x="1169" y="1142"/>
                    <a:pt x="1169" y="1142"/>
                  </a:cubicBezTo>
                  <a:cubicBezTo>
                    <a:pt x="1169" y="993"/>
                    <a:pt x="1169" y="993"/>
                    <a:pt x="1169" y="993"/>
                  </a:cubicBezTo>
                  <a:cubicBezTo>
                    <a:pt x="1018" y="993"/>
                    <a:pt x="1018" y="993"/>
                    <a:pt x="1018" y="993"/>
                  </a:cubicBezTo>
                  <a:cubicBezTo>
                    <a:pt x="1018" y="1142"/>
                    <a:pt x="1018" y="1142"/>
                    <a:pt x="1018" y="1142"/>
                  </a:cubicBezTo>
                  <a:cubicBezTo>
                    <a:pt x="963" y="1142"/>
                    <a:pt x="963" y="1142"/>
                    <a:pt x="963" y="1142"/>
                  </a:cubicBezTo>
                  <a:cubicBezTo>
                    <a:pt x="963" y="803"/>
                    <a:pt x="963" y="803"/>
                    <a:pt x="963" y="803"/>
                  </a:cubicBezTo>
                  <a:cubicBezTo>
                    <a:pt x="1018" y="803"/>
                    <a:pt x="1018" y="803"/>
                    <a:pt x="1018" y="803"/>
                  </a:cubicBezTo>
                  <a:cubicBezTo>
                    <a:pt x="1018" y="943"/>
                    <a:pt x="1018" y="943"/>
                    <a:pt x="1018" y="943"/>
                  </a:cubicBezTo>
                  <a:cubicBezTo>
                    <a:pt x="1169" y="943"/>
                    <a:pt x="1169" y="943"/>
                    <a:pt x="1169" y="943"/>
                  </a:cubicBezTo>
                  <a:cubicBezTo>
                    <a:pt x="1169" y="803"/>
                    <a:pt x="1169" y="803"/>
                    <a:pt x="1169" y="803"/>
                  </a:cubicBezTo>
                  <a:cubicBezTo>
                    <a:pt x="1223" y="803"/>
                    <a:pt x="1223" y="803"/>
                    <a:pt x="1223" y="803"/>
                  </a:cubicBezTo>
                  <a:lnTo>
                    <a:pt x="1223" y="1142"/>
                  </a:lnTo>
                  <a:close/>
                  <a:moveTo>
                    <a:pt x="1595" y="1142"/>
                  </a:moveTo>
                  <a:cubicBezTo>
                    <a:pt x="1533" y="1142"/>
                    <a:pt x="1533" y="1142"/>
                    <a:pt x="1533" y="1142"/>
                  </a:cubicBezTo>
                  <a:cubicBezTo>
                    <a:pt x="1532" y="1140"/>
                    <a:pt x="1532" y="1140"/>
                    <a:pt x="1532" y="1140"/>
                  </a:cubicBezTo>
                  <a:cubicBezTo>
                    <a:pt x="1378" y="878"/>
                    <a:pt x="1378" y="878"/>
                    <a:pt x="1378" y="878"/>
                  </a:cubicBezTo>
                  <a:cubicBezTo>
                    <a:pt x="1378" y="1142"/>
                    <a:pt x="1378" y="1142"/>
                    <a:pt x="1378" y="1142"/>
                  </a:cubicBezTo>
                  <a:cubicBezTo>
                    <a:pt x="1327" y="1142"/>
                    <a:pt x="1327" y="1142"/>
                    <a:pt x="1327" y="1142"/>
                  </a:cubicBezTo>
                  <a:cubicBezTo>
                    <a:pt x="1327" y="803"/>
                    <a:pt x="1327" y="803"/>
                    <a:pt x="1327" y="803"/>
                  </a:cubicBezTo>
                  <a:cubicBezTo>
                    <a:pt x="1398" y="803"/>
                    <a:pt x="1398" y="803"/>
                    <a:pt x="1398" y="803"/>
                  </a:cubicBezTo>
                  <a:cubicBezTo>
                    <a:pt x="1545" y="1056"/>
                    <a:pt x="1545" y="1056"/>
                    <a:pt x="1545" y="1056"/>
                  </a:cubicBezTo>
                  <a:cubicBezTo>
                    <a:pt x="1545" y="803"/>
                    <a:pt x="1545" y="803"/>
                    <a:pt x="1545" y="803"/>
                  </a:cubicBezTo>
                  <a:cubicBezTo>
                    <a:pt x="1596" y="803"/>
                    <a:pt x="1596" y="803"/>
                    <a:pt x="1596" y="803"/>
                  </a:cubicBezTo>
                  <a:cubicBezTo>
                    <a:pt x="1596" y="1142"/>
                    <a:pt x="1596" y="1142"/>
                    <a:pt x="1596" y="1142"/>
                  </a:cubicBezTo>
                  <a:lnTo>
                    <a:pt x="1595" y="1142"/>
                  </a:lnTo>
                  <a:close/>
                  <a:moveTo>
                    <a:pt x="1834" y="1148"/>
                  </a:moveTo>
                  <a:cubicBezTo>
                    <a:pt x="1785" y="1148"/>
                    <a:pt x="1746" y="1132"/>
                    <a:pt x="1719" y="1102"/>
                  </a:cubicBezTo>
                  <a:cubicBezTo>
                    <a:pt x="1692" y="1071"/>
                    <a:pt x="1678" y="1028"/>
                    <a:pt x="1678" y="974"/>
                  </a:cubicBezTo>
                  <a:cubicBezTo>
                    <a:pt x="1678" y="918"/>
                    <a:pt x="1692" y="875"/>
                    <a:pt x="1719" y="844"/>
                  </a:cubicBezTo>
                  <a:cubicBezTo>
                    <a:pt x="1746" y="814"/>
                    <a:pt x="1785" y="798"/>
                    <a:pt x="1834" y="798"/>
                  </a:cubicBezTo>
                  <a:cubicBezTo>
                    <a:pt x="1883" y="798"/>
                    <a:pt x="1922" y="814"/>
                    <a:pt x="1949" y="844"/>
                  </a:cubicBezTo>
                  <a:cubicBezTo>
                    <a:pt x="1975" y="874"/>
                    <a:pt x="1989" y="918"/>
                    <a:pt x="1989" y="974"/>
                  </a:cubicBezTo>
                  <a:cubicBezTo>
                    <a:pt x="1989" y="1029"/>
                    <a:pt x="1975" y="1072"/>
                    <a:pt x="1948" y="1102"/>
                  </a:cubicBezTo>
                  <a:cubicBezTo>
                    <a:pt x="1921" y="1132"/>
                    <a:pt x="1883" y="1148"/>
                    <a:pt x="1834" y="1148"/>
                  </a:cubicBezTo>
                  <a:moveTo>
                    <a:pt x="1833" y="845"/>
                  </a:moveTo>
                  <a:cubicBezTo>
                    <a:pt x="1802" y="845"/>
                    <a:pt x="1778" y="855"/>
                    <a:pt x="1761" y="877"/>
                  </a:cubicBezTo>
                  <a:cubicBezTo>
                    <a:pt x="1745" y="899"/>
                    <a:pt x="1736" y="930"/>
                    <a:pt x="1736" y="971"/>
                  </a:cubicBezTo>
                  <a:cubicBezTo>
                    <a:pt x="1736" y="1013"/>
                    <a:pt x="1745" y="1045"/>
                    <a:pt x="1762" y="1067"/>
                  </a:cubicBezTo>
                  <a:cubicBezTo>
                    <a:pt x="1778" y="1089"/>
                    <a:pt x="1802" y="1099"/>
                    <a:pt x="1833" y="1099"/>
                  </a:cubicBezTo>
                  <a:cubicBezTo>
                    <a:pt x="1865" y="1099"/>
                    <a:pt x="1889" y="1089"/>
                    <a:pt x="1905" y="1067"/>
                  </a:cubicBezTo>
                  <a:cubicBezTo>
                    <a:pt x="1922" y="1046"/>
                    <a:pt x="1931" y="1014"/>
                    <a:pt x="1931" y="972"/>
                  </a:cubicBezTo>
                  <a:cubicBezTo>
                    <a:pt x="1931" y="931"/>
                    <a:pt x="1922" y="899"/>
                    <a:pt x="1905" y="877"/>
                  </a:cubicBezTo>
                  <a:cubicBezTo>
                    <a:pt x="1888" y="855"/>
                    <a:pt x="1865" y="845"/>
                    <a:pt x="1833" y="845"/>
                  </a:cubicBezTo>
                  <a:moveTo>
                    <a:pt x="2274" y="1142"/>
                  </a:moveTo>
                  <a:cubicBezTo>
                    <a:pt x="2070" y="1142"/>
                    <a:pt x="2070" y="1142"/>
                    <a:pt x="2070" y="1142"/>
                  </a:cubicBezTo>
                  <a:cubicBezTo>
                    <a:pt x="2070" y="803"/>
                    <a:pt x="2070" y="803"/>
                    <a:pt x="2070" y="803"/>
                  </a:cubicBezTo>
                  <a:cubicBezTo>
                    <a:pt x="2125" y="803"/>
                    <a:pt x="2125" y="803"/>
                    <a:pt x="2125" y="803"/>
                  </a:cubicBezTo>
                  <a:cubicBezTo>
                    <a:pt x="2125" y="1092"/>
                    <a:pt x="2125" y="1092"/>
                    <a:pt x="2125" y="1092"/>
                  </a:cubicBezTo>
                  <a:cubicBezTo>
                    <a:pt x="2274" y="1092"/>
                    <a:pt x="2274" y="1092"/>
                    <a:pt x="2274" y="1092"/>
                  </a:cubicBezTo>
                  <a:cubicBezTo>
                    <a:pt x="2274" y="1142"/>
                    <a:pt x="2274" y="1142"/>
                    <a:pt x="2274" y="1142"/>
                  </a:cubicBezTo>
                  <a:close/>
                  <a:moveTo>
                    <a:pt x="2475" y="1148"/>
                  </a:moveTo>
                  <a:cubicBezTo>
                    <a:pt x="2427" y="1148"/>
                    <a:pt x="2388" y="1132"/>
                    <a:pt x="2361" y="1102"/>
                  </a:cubicBezTo>
                  <a:cubicBezTo>
                    <a:pt x="2334" y="1071"/>
                    <a:pt x="2320" y="1028"/>
                    <a:pt x="2320" y="974"/>
                  </a:cubicBezTo>
                  <a:cubicBezTo>
                    <a:pt x="2320" y="918"/>
                    <a:pt x="2334" y="875"/>
                    <a:pt x="2360" y="844"/>
                  </a:cubicBezTo>
                  <a:cubicBezTo>
                    <a:pt x="2387" y="814"/>
                    <a:pt x="2426" y="798"/>
                    <a:pt x="2475" y="798"/>
                  </a:cubicBezTo>
                  <a:cubicBezTo>
                    <a:pt x="2525" y="798"/>
                    <a:pt x="2563" y="814"/>
                    <a:pt x="2590" y="844"/>
                  </a:cubicBezTo>
                  <a:cubicBezTo>
                    <a:pt x="2617" y="874"/>
                    <a:pt x="2630" y="918"/>
                    <a:pt x="2630" y="974"/>
                  </a:cubicBezTo>
                  <a:cubicBezTo>
                    <a:pt x="2630" y="1029"/>
                    <a:pt x="2617" y="1072"/>
                    <a:pt x="2590" y="1102"/>
                  </a:cubicBezTo>
                  <a:cubicBezTo>
                    <a:pt x="2563" y="1132"/>
                    <a:pt x="2525" y="1148"/>
                    <a:pt x="2475" y="1148"/>
                  </a:cubicBezTo>
                  <a:moveTo>
                    <a:pt x="2475" y="845"/>
                  </a:moveTo>
                  <a:cubicBezTo>
                    <a:pt x="2443" y="845"/>
                    <a:pt x="2420" y="855"/>
                    <a:pt x="2403" y="877"/>
                  </a:cubicBezTo>
                  <a:cubicBezTo>
                    <a:pt x="2386" y="899"/>
                    <a:pt x="2378" y="930"/>
                    <a:pt x="2378" y="971"/>
                  </a:cubicBezTo>
                  <a:cubicBezTo>
                    <a:pt x="2378" y="1013"/>
                    <a:pt x="2386" y="1045"/>
                    <a:pt x="2403" y="1067"/>
                  </a:cubicBezTo>
                  <a:cubicBezTo>
                    <a:pt x="2420" y="1089"/>
                    <a:pt x="2443" y="1099"/>
                    <a:pt x="2475" y="1099"/>
                  </a:cubicBezTo>
                  <a:cubicBezTo>
                    <a:pt x="2507" y="1099"/>
                    <a:pt x="2530" y="1089"/>
                    <a:pt x="2547" y="1067"/>
                  </a:cubicBezTo>
                  <a:cubicBezTo>
                    <a:pt x="2564" y="1046"/>
                    <a:pt x="2572" y="1014"/>
                    <a:pt x="2572" y="972"/>
                  </a:cubicBezTo>
                  <a:cubicBezTo>
                    <a:pt x="2572" y="931"/>
                    <a:pt x="2564" y="899"/>
                    <a:pt x="2547" y="877"/>
                  </a:cubicBezTo>
                  <a:cubicBezTo>
                    <a:pt x="2530" y="855"/>
                    <a:pt x="2507" y="845"/>
                    <a:pt x="2475" y="845"/>
                  </a:cubicBezTo>
                  <a:moveTo>
                    <a:pt x="2862" y="1148"/>
                  </a:moveTo>
                  <a:cubicBezTo>
                    <a:pt x="2811" y="1148"/>
                    <a:pt x="2770" y="1133"/>
                    <a:pt x="2741" y="1103"/>
                  </a:cubicBezTo>
                  <a:cubicBezTo>
                    <a:pt x="2711" y="1073"/>
                    <a:pt x="2696" y="1031"/>
                    <a:pt x="2696" y="980"/>
                  </a:cubicBezTo>
                  <a:cubicBezTo>
                    <a:pt x="2696" y="923"/>
                    <a:pt x="2711" y="878"/>
                    <a:pt x="2740" y="846"/>
                  </a:cubicBezTo>
                  <a:cubicBezTo>
                    <a:pt x="2769" y="814"/>
                    <a:pt x="2810" y="798"/>
                    <a:pt x="2862" y="798"/>
                  </a:cubicBezTo>
                  <a:cubicBezTo>
                    <a:pt x="2898" y="798"/>
                    <a:pt x="2927" y="806"/>
                    <a:pt x="2949" y="822"/>
                  </a:cubicBezTo>
                  <a:cubicBezTo>
                    <a:pt x="2970" y="839"/>
                    <a:pt x="2982" y="861"/>
                    <a:pt x="2983" y="890"/>
                  </a:cubicBezTo>
                  <a:cubicBezTo>
                    <a:pt x="2983" y="895"/>
                    <a:pt x="2983" y="895"/>
                    <a:pt x="2983" y="895"/>
                  </a:cubicBezTo>
                  <a:cubicBezTo>
                    <a:pt x="2924" y="895"/>
                    <a:pt x="2924" y="895"/>
                    <a:pt x="2924" y="895"/>
                  </a:cubicBezTo>
                  <a:cubicBezTo>
                    <a:pt x="2924" y="890"/>
                    <a:pt x="2924" y="890"/>
                    <a:pt x="2924" y="890"/>
                  </a:cubicBezTo>
                  <a:cubicBezTo>
                    <a:pt x="2924" y="877"/>
                    <a:pt x="2917" y="866"/>
                    <a:pt x="2905" y="856"/>
                  </a:cubicBezTo>
                  <a:cubicBezTo>
                    <a:pt x="2892" y="847"/>
                    <a:pt x="2876" y="842"/>
                    <a:pt x="2856" y="842"/>
                  </a:cubicBezTo>
                  <a:cubicBezTo>
                    <a:pt x="2824" y="842"/>
                    <a:pt x="2799" y="854"/>
                    <a:pt x="2781" y="877"/>
                  </a:cubicBezTo>
                  <a:cubicBezTo>
                    <a:pt x="2762" y="900"/>
                    <a:pt x="2753" y="933"/>
                    <a:pt x="2753" y="974"/>
                  </a:cubicBezTo>
                  <a:cubicBezTo>
                    <a:pt x="2753" y="1015"/>
                    <a:pt x="2763" y="1046"/>
                    <a:pt x="2782" y="1068"/>
                  </a:cubicBezTo>
                  <a:cubicBezTo>
                    <a:pt x="2801" y="1090"/>
                    <a:pt x="2829" y="1101"/>
                    <a:pt x="2864" y="1101"/>
                  </a:cubicBezTo>
                  <a:cubicBezTo>
                    <a:pt x="2873" y="1101"/>
                    <a:pt x="2883" y="1100"/>
                    <a:pt x="2893" y="1098"/>
                  </a:cubicBezTo>
                  <a:cubicBezTo>
                    <a:pt x="2902" y="1096"/>
                    <a:pt x="2913" y="1094"/>
                    <a:pt x="2926" y="1091"/>
                  </a:cubicBezTo>
                  <a:cubicBezTo>
                    <a:pt x="2926" y="1002"/>
                    <a:pt x="2926" y="1002"/>
                    <a:pt x="2926" y="1002"/>
                  </a:cubicBezTo>
                  <a:cubicBezTo>
                    <a:pt x="2857" y="1002"/>
                    <a:pt x="2857" y="1002"/>
                    <a:pt x="2857" y="1002"/>
                  </a:cubicBezTo>
                  <a:cubicBezTo>
                    <a:pt x="2857" y="955"/>
                    <a:pt x="2857" y="955"/>
                    <a:pt x="2857" y="955"/>
                  </a:cubicBezTo>
                  <a:cubicBezTo>
                    <a:pt x="2983" y="955"/>
                    <a:pt x="2983" y="955"/>
                    <a:pt x="2983" y="955"/>
                  </a:cubicBezTo>
                  <a:cubicBezTo>
                    <a:pt x="2983" y="1125"/>
                    <a:pt x="2983" y="1125"/>
                    <a:pt x="2983" y="1125"/>
                  </a:cubicBezTo>
                  <a:cubicBezTo>
                    <a:pt x="2979" y="1127"/>
                    <a:pt x="2979" y="1127"/>
                    <a:pt x="2979" y="1127"/>
                  </a:cubicBezTo>
                  <a:cubicBezTo>
                    <a:pt x="2957" y="1134"/>
                    <a:pt x="2937" y="1139"/>
                    <a:pt x="2918" y="1143"/>
                  </a:cubicBezTo>
                  <a:cubicBezTo>
                    <a:pt x="2899" y="1146"/>
                    <a:pt x="2880" y="1148"/>
                    <a:pt x="2862" y="1148"/>
                  </a:cubicBezTo>
                  <a:moveTo>
                    <a:pt x="3139" y="1142"/>
                  </a:moveTo>
                  <a:cubicBezTo>
                    <a:pt x="3084" y="1142"/>
                    <a:pt x="3084" y="1142"/>
                    <a:pt x="3084" y="1142"/>
                  </a:cubicBezTo>
                  <a:cubicBezTo>
                    <a:pt x="3084" y="803"/>
                    <a:pt x="3084" y="803"/>
                    <a:pt x="3084" y="803"/>
                  </a:cubicBezTo>
                  <a:cubicBezTo>
                    <a:pt x="3139" y="803"/>
                    <a:pt x="3139" y="803"/>
                    <a:pt x="3139" y="803"/>
                  </a:cubicBezTo>
                  <a:lnTo>
                    <a:pt x="3139" y="1142"/>
                  </a:lnTo>
                  <a:close/>
                  <a:moveTo>
                    <a:pt x="3461" y="1142"/>
                  </a:moveTo>
                  <a:cubicBezTo>
                    <a:pt x="3243" y="1142"/>
                    <a:pt x="3243" y="1142"/>
                    <a:pt x="3243" y="1142"/>
                  </a:cubicBezTo>
                  <a:cubicBezTo>
                    <a:pt x="3243" y="803"/>
                    <a:pt x="3243" y="803"/>
                    <a:pt x="3243" y="803"/>
                  </a:cubicBezTo>
                  <a:cubicBezTo>
                    <a:pt x="3458" y="803"/>
                    <a:pt x="3458" y="803"/>
                    <a:pt x="3458" y="803"/>
                  </a:cubicBezTo>
                  <a:cubicBezTo>
                    <a:pt x="3458" y="853"/>
                    <a:pt x="3458" y="853"/>
                    <a:pt x="3458" y="853"/>
                  </a:cubicBezTo>
                  <a:cubicBezTo>
                    <a:pt x="3298" y="853"/>
                    <a:pt x="3298" y="853"/>
                    <a:pt x="3298" y="853"/>
                  </a:cubicBezTo>
                  <a:cubicBezTo>
                    <a:pt x="3298" y="942"/>
                    <a:pt x="3298" y="942"/>
                    <a:pt x="3298" y="942"/>
                  </a:cubicBezTo>
                  <a:cubicBezTo>
                    <a:pt x="3451" y="942"/>
                    <a:pt x="3451" y="942"/>
                    <a:pt x="3451" y="942"/>
                  </a:cubicBezTo>
                  <a:cubicBezTo>
                    <a:pt x="3451" y="991"/>
                    <a:pt x="3451" y="991"/>
                    <a:pt x="3451" y="991"/>
                  </a:cubicBezTo>
                  <a:cubicBezTo>
                    <a:pt x="3298" y="991"/>
                    <a:pt x="3298" y="991"/>
                    <a:pt x="3298" y="991"/>
                  </a:cubicBezTo>
                  <a:cubicBezTo>
                    <a:pt x="3298" y="1092"/>
                    <a:pt x="3298" y="1092"/>
                    <a:pt x="3298" y="1092"/>
                  </a:cubicBezTo>
                  <a:cubicBezTo>
                    <a:pt x="3461" y="1092"/>
                    <a:pt x="3461" y="1092"/>
                    <a:pt x="3461" y="1092"/>
                  </a:cubicBezTo>
                  <a:lnTo>
                    <a:pt x="3461" y="1142"/>
                  </a:lnTo>
                  <a:close/>
                  <a:moveTo>
                    <a:pt x="3656" y="1148"/>
                  </a:moveTo>
                  <a:cubicBezTo>
                    <a:pt x="3615" y="1148"/>
                    <a:pt x="3583" y="1139"/>
                    <a:pt x="3562" y="1123"/>
                  </a:cubicBezTo>
                  <a:cubicBezTo>
                    <a:pt x="3541" y="1105"/>
                    <a:pt x="3530" y="1080"/>
                    <a:pt x="3530" y="1046"/>
                  </a:cubicBezTo>
                  <a:cubicBezTo>
                    <a:pt x="3530" y="1035"/>
                    <a:pt x="3530" y="1035"/>
                    <a:pt x="3530" y="1035"/>
                  </a:cubicBezTo>
                  <a:cubicBezTo>
                    <a:pt x="3588" y="1035"/>
                    <a:pt x="3588" y="1035"/>
                    <a:pt x="3588" y="1035"/>
                  </a:cubicBezTo>
                  <a:cubicBezTo>
                    <a:pt x="3588" y="1040"/>
                    <a:pt x="3588" y="1040"/>
                    <a:pt x="3588" y="1040"/>
                  </a:cubicBezTo>
                  <a:cubicBezTo>
                    <a:pt x="3589" y="1060"/>
                    <a:pt x="3595" y="1075"/>
                    <a:pt x="3606" y="1084"/>
                  </a:cubicBezTo>
                  <a:cubicBezTo>
                    <a:pt x="3617" y="1093"/>
                    <a:pt x="3635" y="1098"/>
                    <a:pt x="3658" y="1098"/>
                  </a:cubicBezTo>
                  <a:cubicBezTo>
                    <a:pt x="3682" y="1098"/>
                    <a:pt x="3700" y="1093"/>
                    <a:pt x="3714" y="1084"/>
                  </a:cubicBezTo>
                  <a:cubicBezTo>
                    <a:pt x="3727" y="1075"/>
                    <a:pt x="3733" y="1062"/>
                    <a:pt x="3733" y="1046"/>
                  </a:cubicBezTo>
                  <a:cubicBezTo>
                    <a:pt x="3733" y="1024"/>
                    <a:pt x="3709" y="1007"/>
                    <a:pt x="3660" y="995"/>
                  </a:cubicBezTo>
                  <a:cubicBezTo>
                    <a:pt x="3655" y="993"/>
                    <a:pt x="3651" y="992"/>
                    <a:pt x="3647" y="991"/>
                  </a:cubicBezTo>
                  <a:cubicBezTo>
                    <a:pt x="3644" y="991"/>
                    <a:pt x="3639" y="989"/>
                    <a:pt x="3632" y="988"/>
                  </a:cubicBezTo>
                  <a:cubicBezTo>
                    <a:pt x="3604" y="981"/>
                    <a:pt x="3584" y="974"/>
                    <a:pt x="3572" y="967"/>
                  </a:cubicBezTo>
                  <a:cubicBezTo>
                    <a:pt x="3560" y="959"/>
                    <a:pt x="3551" y="949"/>
                    <a:pt x="3544" y="937"/>
                  </a:cubicBezTo>
                  <a:cubicBezTo>
                    <a:pt x="3537" y="925"/>
                    <a:pt x="3534" y="911"/>
                    <a:pt x="3534" y="896"/>
                  </a:cubicBezTo>
                  <a:cubicBezTo>
                    <a:pt x="3534" y="866"/>
                    <a:pt x="3546" y="841"/>
                    <a:pt x="3569" y="824"/>
                  </a:cubicBezTo>
                  <a:cubicBezTo>
                    <a:pt x="3592" y="807"/>
                    <a:pt x="3624" y="798"/>
                    <a:pt x="3663" y="798"/>
                  </a:cubicBezTo>
                  <a:cubicBezTo>
                    <a:pt x="3698" y="798"/>
                    <a:pt x="3726" y="806"/>
                    <a:pt x="3747" y="821"/>
                  </a:cubicBezTo>
                  <a:cubicBezTo>
                    <a:pt x="3768" y="837"/>
                    <a:pt x="3778" y="858"/>
                    <a:pt x="3778" y="885"/>
                  </a:cubicBezTo>
                  <a:cubicBezTo>
                    <a:pt x="3778" y="895"/>
                    <a:pt x="3778" y="895"/>
                    <a:pt x="3778" y="895"/>
                  </a:cubicBezTo>
                  <a:cubicBezTo>
                    <a:pt x="3724" y="895"/>
                    <a:pt x="3724" y="895"/>
                    <a:pt x="3724" y="895"/>
                  </a:cubicBezTo>
                  <a:cubicBezTo>
                    <a:pt x="3723" y="890"/>
                    <a:pt x="3723" y="890"/>
                    <a:pt x="3723" y="890"/>
                  </a:cubicBezTo>
                  <a:cubicBezTo>
                    <a:pt x="3723" y="875"/>
                    <a:pt x="3717" y="865"/>
                    <a:pt x="3707" y="857"/>
                  </a:cubicBezTo>
                  <a:cubicBezTo>
                    <a:pt x="3696" y="849"/>
                    <a:pt x="3680" y="845"/>
                    <a:pt x="3659" y="845"/>
                  </a:cubicBezTo>
                  <a:cubicBezTo>
                    <a:pt x="3638" y="845"/>
                    <a:pt x="3621" y="850"/>
                    <a:pt x="3609" y="859"/>
                  </a:cubicBezTo>
                  <a:cubicBezTo>
                    <a:pt x="3597" y="867"/>
                    <a:pt x="3591" y="879"/>
                    <a:pt x="3591" y="893"/>
                  </a:cubicBezTo>
                  <a:cubicBezTo>
                    <a:pt x="3591" y="912"/>
                    <a:pt x="3613" y="927"/>
                    <a:pt x="3657" y="938"/>
                  </a:cubicBezTo>
                  <a:cubicBezTo>
                    <a:pt x="3666" y="940"/>
                    <a:pt x="3666" y="940"/>
                    <a:pt x="3666" y="940"/>
                  </a:cubicBezTo>
                  <a:cubicBezTo>
                    <a:pt x="3719" y="954"/>
                    <a:pt x="3751" y="967"/>
                    <a:pt x="3766" y="981"/>
                  </a:cubicBezTo>
                  <a:cubicBezTo>
                    <a:pt x="3781" y="995"/>
                    <a:pt x="3789" y="1015"/>
                    <a:pt x="3789" y="1040"/>
                  </a:cubicBezTo>
                  <a:cubicBezTo>
                    <a:pt x="3789" y="1075"/>
                    <a:pt x="3777" y="1102"/>
                    <a:pt x="3754" y="1120"/>
                  </a:cubicBezTo>
                  <a:cubicBezTo>
                    <a:pt x="3731" y="1138"/>
                    <a:pt x="3698" y="1148"/>
                    <a:pt x="3656" y="1148"/>
                  </a:cubicBezTo>
                  <a:moveTo>
                    <a:pt x="25" y="605"/>
                  </a:moveTo>
                  <a:cubicBezTo>
                    <a:pt x="25" y="11"/>
                    <a:pt x="25" y="11"/>
                    <a:pt x="25" y="11"/>
                  </a:cubicBezTo>
                  <a:cubicBezTo>
                    <a:pt x="152" y="11"/>
                    <a:pt x="152" y="11"/>
                    <a:pt x="152" y="11"/>
                  </a:cubicBezTo>
                  <a:cubicBezTo>
                    <a:pt x="152" y="268"/>
                    <a:pt x="152" y="268"/>
                    <a:pt x="152" y="268"/>
                  </a:cubicBezTo>
                  <a:cubicBezTo>
                    <a:pt x="346" y="11"/>
                    <a:pt x="346" y="11"/>
                    <a:pt x="346" y="11"/>
                  </a:cubicBezTo>
                  <a:cubicBezTo>
                    <a:pt x="488" y="11"/>
                    <a:pt x="488" y="11"/>
                    <a:pt x="488" y="11"/>
                  </a:cubicBezTo>
                  <a:cubicBezTo>
                    <a:pt x="279" y="277"/>
                    <a:pt x="279" y="277"/>
                    <a:pt x="279" y="277"/>
                  </a:cubicBezTo>
                  <a:cubicBezTo>
                    <a:pt x="509" y="605"/>
                    <a:pt x="509" y="605"/>
                    <a:pt x="509" y="605"/>
                  </a:cubicBezTo>
                  <a:cubicBezTo>
                    <a:pt x="361" y="605"/>
                    <a:pt x="361" y="605"/>
                    <a:pt x="361" y="605"/>
                  </a:cubicBezTo>
                  <a:cubicBezTo>
                    <a:pt x="152" y="297"/>
                    <a:pt x="152" y="297"/>
                    <a:pt x="152" y="297"/>
                  </a:cubicBezTo>
                  <a:cubicBezTo>
                    <a:pt x="152" y="605"/>
                    <a:pt x="152" y="605"/>
                    <a:pt x="152" y="605"/>
                  </a:cubicBezTo>
                  <a:cubicBezTo>
                    <a:pt x="25" y="605"/>
                    <a:pt x="25" y="605"/>
                    <a:pt x="25" y="605"/>
                  </a:cubicBezTo>
                  <a:close/>
                  <a:moveTo>
                    <a:pt x="553" y="605"/>
                  </a:moveTo>
                  <a:cubicBezTo>
                    <a:pt x="553" y="11"/>
                    <a:pt x="553" y="11"/>
                    <a:pt x="553" y="11"/>
                  </a:cubicBezTo>
                  <a:cubicBezTo>
                    <a:pt x="947" y="11"/>
                    <a:pt x="947" y="11"/>
                    <a:pt x="947" y="11"/>
                  </a:cubicBezTo>
                  <a:cubicBezTo>
                    <a:pt x="947" y="109"/>
                    <a:pt x="947" y="109"/>
                    <a:pt x="947" y="109"/>
                  </a:cubicBezTo>
                  <a:cubicBezTo>
                    <a:pt x="682" y="109"/>
                    <a:pt x="682" y="109"/>
                    <a:pt x="682" y="109"/>
                  </a:cubicBezTo>
                  <a:cubicBezTo>
                    <a:pt x="682" y="249"/>
                    <a:pt x="682" y="249"/>
                    <a:pt x="682" y="249"/>
                  </a:cubicBezTo>
                  <a:cubicBezTo>
                    <a:pt x="931" y="249"/>
                    <a:pt x="931" y="249"/>
                    <a:pt x="931" y="249"/>
                  </a:cubicBezTo>
                  <a:cubicBezTo>
                    <a:pt x="931" y="346"/>
                    <a:pt x="931" y="346"/>
                    <a:pt x="931" y="346"/>
                  </a:cubicBezTo>
                  <a:cubicBezTo>
                    <a:pt x="682" y="346"/>
                    <a:pt x="682" y="346"/>
                    <a:pt x="682" y="346"/>
                  </a:cubicBezTo>
                  <a:cubicBezTo>
                    <a:pt x="682" y="506"/>
                    <a:pt x="682" y="506"/>
                    <a:pt x="682" y="506"/>
                  </a:cubicBezTo>
                  <a:cubicBezTo>
                    <a:pt x="957" y="506"/>
                    <a:pt x="957" y="506"/>
                    <a:pt x="957" y="506"/>
                  </a:cubicBezTo>
                  <a:cubicBezTo>
                    <a:pt x="957" y="605"/>
                    <a:pt x="957" y="605"/>
                    <a:pt x="957" y="605"/>
                  </a:cubicBezTo>
                  <a:lnTo>
                    <a:pt x="553" y="605"/>
                  </a:lnTo>
                  <a:close/>
                  <a:moveTo>
                    <a:pt x="1190" y="605"/>
                  </a:moveTo>
                  <a:cubicBezTo>
                    <a:pt x="1190" y="386"/>
                    <a:pt x="1190" y="386"/>
                    <a:pt x="1190" y="386"/>
                  </a:cubicBezTo>
                  <a:cubicBezTo>
                    <a:pt x="989" y="11"/>
                    <a:pt x="989" y="11"/>
                    <a:pt x="989" y="11"/>
                  </a:cubicBezTo>
                  <a:cubicBezTo>
                    <a:pt x="1123" y="11"/>
                    <a:pt x="1123" y="11"/>
                    <a:pt x="1123" y="11"/>
                  </a:cubicBezTo>
                  <a:cubicBezTo>
                    <a:pt x="1259" y="265"/>
                    <a:pt x="1259" y="265"/>
                    <a:pt x="1259" y="265"/>
                  </a:cubicBezTo>
                  <a:cubicBezTo>
                    <a:pt x="1382" y="11"/>
                    <a:pt x="1382" y="11"/>
                    <a:pt x="1382" y="11"/>
                  </a:cubicBezTo>
                  <a:cubicBezTo>
                    <a:pt x="1515" y="11"/>
                    <a:pt x="1515" y="11"/>
                    <a:pt x="1515" y="11"/>
                  </a:cubicBezTo>
                  <a:cubicBezTo>
                    <a:pt x="1317" y="386"/>
                    <a:pt x="1317" y="386"/>
                    <a:pt x="1317" y="386"/>
                  </a:cubicBezTo>
                  <a:cubicBezTo>
                    <a:pt x="1317" y="605"/>
                    <a:pt x="1317" y="605"/>
                    <a:pt x="1317" y="605"/>
                  </a:cubicBezTo>
                  <a:lnTo>
                    <a:pt x="1190" y="605"/>
                  </a:lnTo>
                  <a:close/>
                  <a:moveTo>
                    <a:pt x="1504" y="412"/>
                  </a:moveTo>
                  <a:cubicBezTo>
                    <a:pt x="1629" y="412"/>
                    <a:pt x="1629" y="412"/>
                    <a:pt x="1629" y="412"/>
                  </a:cubicBezTo>
                  <a:cubicBezTo>
                    <a:pt x="1629" y="452"/>
                    <a:pt x="1638" y="481"/>
                    <a:pt x="1658" y="501"/>
                  </a:cubicBezTo>
                  <a:cubicBezTo>
                    <a:pt x="1678" y="521"/>
                    <a:pt x="1707" y="531"/>
                    <a:pt x="1746" y="531"/>
                  </a:cubicBezTo>
                  <a:cubicBezTo>
                    <a:pt x="1778" y="531"/>
                    <a:pt x="1803" y="524"/>
                    <a:pt x="1823" y="508"/>
                  </a:cubicBezTo>
                  <a:cubicBezTo>
                    <a:pt x="1843" y="493"/>
                    <a:pt x="1853" y="473"/>
                    <a:pt x="1853" y="449"/>
                  </a:cubicBezTo>
                  <a:cubicBezTo>
                    <a:pt x="1853" y="412"/>
                    <a:pt x="1806" y="377"/>
                    <a:pt x="1713" y="346"/>
                  </a:cubicBezTo>
                  <a:cubicBezTo>
                    <a:pt x="1699" y="341"/>
                    <a:pt x="1699" y="341"/>
                    <a:pt x="1699" y="341"/>
                  </a:cubicBezTo>
                  <a:cubicBezTo>
                    <a:pt x="1696" y="340"/>
                    <a:pt x="1692" y="339"/>
                    <a:pt x="1687" y="337"/>
                  </a:cubicBezTo>
                  <a:cubicBezTo>
                    <a:pt x="1635" y="320"/>
                    <a:pt x="1597" y="303"/>
                    <a:pt x="1574" y="286"/>
                  </a:cubicBezTo>
                  <a:cubicBezTo>
                    <a:pt x="1558" y="273"/>
                    <a:pt x="1545" y="257"/>
                    <a:pt x="1536" y="238"/>
                  </a:cubicBezTo>
                  <a:cubicBezTo>
                    <a:pt x="1527" y="219"/>
                    <a:pt x="1522" y="198"/>
                    <a:pt x="1522" y="174"/>
                  </a:cubicBezTo>
                  <a:cubicBezTo>
                    <a:pt x="1522" y="121"/>
                    <a:pt x="1542" y="78"/>
                    <a:pt x="1583" y="47"/>
                  </a:cubicBezTo>
                  <a:cubicBezTo>
                    <a:pt x="1623" y="16"/>
                    <a:pt x="1679" y="0"/>
                    <a:pt x="1749" y="0"/>
                  </a:cubicBezTo>
                  <a:cubicBezTo>
                    <a:pt x="1814" y="0"/>
                    <a:pt x="1864" y="15"/>
                    <a:pt x="1900" y="46"/>
                  </a:cubicBezTo>
                  <a:cubicBezTo>
                    <a:pt x="1936" y="76"/>
                    <a:pt x="1954" y="119"/>
                    <a:pt x="1954" y="173"/>
                  </a:cubicBezTo>
                  <a:cubicBezTo>
                    <a:pt x="1954" y="177"/>
                    <a:pt x="1954" y="177"/>
                    <a:pt x="1954" y="177"/>
                  </a:cubicBezTo>
                  <a:cubicBezTo>
                    <a:pt x="1844" y="177"/>
                    <a:pt x="1844" y="177"/>
                    <a:pt x="1844" y="177"/>
                  </a:cubicBezTo>
                  <a:cubicBezTo>
                    <a:pt x="1841" y="146"/>
                    <a:pt x="1831" y="122"/>
                    <a:pt x="1813" y="106"/>
                  </a:cubicBezTo>
                  <a:cubicBezTo>
                    <a:pt x="1796" y="90"/>
                    <a:pt x="1771" y="82"/>
                    <a:pt x="1741" y="82"/>
                  </a:cubicBezTo>
                  <a:cubicBezTo>
                    <a:pt x="1711" y="82"/>
                    <a:pt x="1687" y="89"/>
                    <a:pt x="1669" y="102"/>
                  </a:cubicBezTo>
                  <a:cubicBezTo>
                    <a:pt x="1652" y="116"/>
                    <a:pt x="1643" y="135"/>
                    <a:pt x="1643" y="158"/>
                  </a:cubicBezTo>
                  <a:cubicBezTo>
                    <a:pt x="1643" y="194"/>
                    <a:pt x="1692" y="228"/>
                    <a:pt x="1790" y="259"/>
                  </a:cubicBezTo>
                  <a:cubicBezTo>
                    <a:pt x="1797" y="262"/>
                    <a:pt x="1797" y="262"/>
                    <a:pt x="1797" y="262"/>
                  </a:cubicBezTo>
                  <a:cubicBezTo>
                    <a:pt x="1872" y="287"/>
                    <a:pt x="1921" y="311"/>
                    <a:pt x="1945" y="336"/>
                  </a:cubicBezTo>
                  <a:cubicBezTo>
                    <a:pt x="1968" y="361"/>
                    <a:pt x="1980" y="395"/>
                    <a:pt x="1980" y="439"/>
                  </a:cubicBezTo>
                  <a:cubicBezTo>
                    <a:pt x="1980" y="494"/>
                    <a:pt x="1959" y="537"/>
                    <a:pt x="1917" y="569"/>
                  </a:cubicBezTo>
                  <a:cubicBezTo>
                    <a:pt x="1874" y="600"/>
                    <a:pt x="1815" y="616"/>
                    <a:pt x="1740" y="616"/>
                  </a:cubicBezTo>
                  <a:cubicBezTo>
                    <a:pt x="1661" y="616"/>
                    <a:pt x="1602" y="599"/>
                    <a:pt x="1563" y="567"/>
                  </a:cubicBezTo>
                  <a:cubicBezTo>
                    <a:pt x="1524" y="534"/>
                    <a:pt x="1504" y="485"/>
                    <a:pt x="1504" y="420"/>
                  </a:cubicBezTo>
                  <a:cubicBezTo>
                    <a:pt x="1504" y="412"/>
                    <a:pt x="1504" y="412"/>
                    <a:pt x="1504" y="412"/>
                  </a:cubicBezTo>
                  <a:close/>
                  <a:moveTo>
                    <a:pt x="2061" y="11"/>
                  </a:moveTo>
                  <a:cubicBezTo>
                    <a:pt x="2188" y="11"/>
                    <a:pt x="2188" y="11"/>
                    <a:pt x="2188" y="11"/>
                  </a:cubicBezTo>
                  <a:cubicBezTo>
                    <a:pt x="2188" y="605"/>
                    <a:pt x="2188" y="605"/>
                    <a:pt x="2188" y="605"/>
                  </a:cubicBezTo>
                  <a:cubicBezTo>
                    <a:pt x="2061" y="605"/>
                    <a:pt x="2061" y="605"/>
                    <a:pt x="2061" y="605"/>
                  </a:cubicBezTo>
                  <a:lnTo>
                    <a:pt x="2061" y="11"/>
                  </a:lnTo>
                  <a:close/>
                  <a:moveTo>
                    <a:pt x="2816" y="288"/>
                  </a:moveTo>
                  <a:cubicBezTo>
                    <a:pt x="2816" y="567"/>
                    <a:pt x="2816" y="567"/>
                    <a:pt x="2816" y="567"/>
                  </a:cubicBezTo>
                  <a:cubicBezTo>
                    <a:pt x="2783" y="583"/>
                    <a:pt x="2748" y="595"/>
                    <a:pt x="2711" y="603"/>
                  </a:cubicBezTo>
                  <a:cubicBezTo>
                    <a:pt x="2673" y="612"/>
                    <a:pt x="2631" y="616"/>
                    <a:pt x="2585" y="616"/>
                  </a:cubicBezTo>
                  <a:cubicBezTo>
                    <a:pt x="2485" y="616"/>
                    <a:pt x="2407" y="590"/>
                    <a:pt x="2352" y="538"/>
                  </a:cubicBezTo>
                  <a:cubicBezTo>
                    <a:pt x="2298" y="486"/>
                    <a:pt x="2270" y="412"/>
                    <a:pt x="2270" y="316"/>
                  </a:cubicBezTo>
                  <a:cubicBezTo>
                    <a:pt x="2270" y="218"/>
                    <a:pt x="2298" y="140"/>
                    <a:pt x="2353" y="85"/>
                  </a:cubicBezTo>
                  <a:cubicBezTo>
                    <a:pt x="2408" y="29"/>
                    <a:pt x="2484" y="1"/>
                    <a:pt x="2582" y="1"/>
                  </a:cubicBezTo>
                  <a:cubicBezTo>
                    <a:pt x="2655" y="1"/>
                    <a:pt x="2712" y="17"/>
                    <a:pt x="2754" y="50"/>
                  </a:cubicBezTo>
                  <a:cubicBezTo>
                    <a:pt x="2797" y="84"/>
                    <a:pt x="2818" y="128"/>
                    <a:pt x="2818" y="183"/>
                  </a:cubicBezTo>
                  <a:cubicBezTo>
                    <a:pt x="2818" y="194"/>
                    <a:pt x="2818" y="194"/>
                    <a:pt x="2818" y="194"/>
                  </a:cubicBezTo>
                  <a:cubicBezTo>
                    <a:pt x="2698" y="194"/>
                    <a:pt x="2698" y="194"/>
                    <a:pt x="2698" y="194"/>
                  </a:cubicBezTo>
                  <a:cubicBezTo>
                    <a:pt x="2696" y="157"/>
                    <a:pt x="2685" y="130"/>
                    <a:pt x="2664" y="111"/>
                  </a:cubicBezTo>
                  <a:cubicBezTo>
                    <a:pt x="2643" y="91"/>
                    <a:pt x="2614" y="82"/>
                    <a:pt x="2575" y="82"/>
                  </a:cubicBezTo>
                  <a:cubicBezTo>
                    <a:pt x="2521" y="82"/>
                    <a:pt x="2478" y="102"/>
                    <a:pt x="2447" y="144"/>
                  </a:cubicBezTo>
                  <a:cubicBezTo>
                    <a:pt x="2416" y="185"/>
                    <a:pt x="2400" y="241"/>
                    <a:pt x="2400" y="312"/>
                  </a:cubicBezTo>
                  <a:cubicBezTo>
                    <a:pt x="2400" y="382"/>
                    <a:pt x="2416" y="435"/>
                    <a:pt x="2449" y="471"/>
                  </a:cubicBezTo>
                  <a:cubicBezTo>
                    <a:pt x="2482" y="507"/>
                    <a:pt x="2531" y="525"/>
                    <a:pt x="2595" y="525"/>
                  </a:cubicBezTo>
                  <a:cubicBezTo>
                    <a:pt x="2611" y="525"/>
                    <a:pt x="2628" y="524"/>
                    <a:pt x="2644" y="522"/>
                  </a:cubicBezTo>
                  <a:cubicBezTo>
                    <a:pt x="2660" y="520"/>
                    <a:pt x="2676" y="517"/>
                    <a:pt x="2692" y="513"/>
                  </a:cubicBezTo>
                  <a:cubicBezTo>
                    <a:pt x="2692" y="383"/>
                    <a:pt x="2692" y="383"/>
                    <a:pt x="2692" y="383"/>
                  </a:cubicBezTo>
                  <a:cubicBezTo>
                    <a:pt x="2579" y="383"/>
                    <a:pt x="2579" y="383"/>
                    <a:pt x="2579" y="383"/>
                  </a:cubicBezTo>
                  <a:cubicBezTo>
                    <a:pt x="2579" y="288"/>
                    <a:pt x="2579" y="288"/>
                    <a:pt x="2579" y="288"/>
                  </a:cubicBezTo>
                  <a:lnTo>
                    <a:pt x="2816" y="288"/>
                  </a:lnTo>
                  <a:close/>
                  <a:moveTo>
                    <a:pt x="2920" y="605"/>
                  </a:moveTo>
                  <a:cubicBezTo>
                    <a:pt x="2920" y="11"/>
                    <a:pt x="2920" y="11"/>
                    <a:pt x="2920" y="11"/>
                  </a:cubicBezTo>
                  <a:cubicBezTo>
                    <a:pt x="3048" y="11"/>
                    <a:pt x="3048" y="11"/>
                    <a:pt x="3048" y="11"/>
                  </a:cubicBezTo>
                  <a:cubicBezTo>
                    <a:pt x="3048" y="248"/>
                    <a:pt x="3048" y="248"/>
                    <a:pt x="3048" y="248"/>
                  </a:cubicBezTo>
                  <a:cubicBezTo>
                    <a:pt x="3273" y="248"/>
                    <a:pt x="3273" y="248"/>
                    <a:pt x="3273" y="248"/>
                  </a:cubicBezTo>
                  <a:cubicBezTo>
                    <a:pt x="3273" y="11"/>
                    <a:pt x="3273" y="11"/>
                    <a:pt x="3273" y="11"/>
                  </a:cubicBezTo>
                  <a:cubicBezTo>
                    <a:pt x="3397" y="11"/>
                    <a:pt x="3397" y="11"/>
                    <a:pt x="3397" y="11"/>
                  </a:cubicBezTo>
                  <a:cubicBezTo>
                    <a:pt x="3397" y="605"/>
                    <a:pt x="3397" y="605"/>
                    <a:pt x="3397" y="605"/>
                  </a:cubicBezTo>
                  <a:cubicBezTo>
                    <a:pt x="3273" y="605"/>
                    <a:pt x="3273" y="605"/>
                    <a:pt x="3273" y="605"/>
                  </a:cubicBezTo>
                  <a:cubicBezTo>
                    <a:pt x="3273" y="345"/>
                    <a:pt x="3273" y="345"/>
                    <a:pt x="3273" y="345"/>
                  </a:cubicBezTo>
                  <a:cubicBezTo>
                    <a:pt x="3048" y="345"/>
                    <a:pt x="3048" y="345"/>
                    <a:pt x="3048" y="345"/>
                  </a:cubicBezTo>
                  <a:cubicBezTo>
                    <a:pt x="3048" y="605"/>
                    <a:pt x="3048" y="605"/>
                    <a:pt x="3048" y="605"/>
                  </a:cubicBezTo>
                  <a:lnTo>
                    <a:pt x="2920" y="605"/>
                  </a:lnTo>
                  <a:close/>
                  <a:moveTo>
                    <a:pt x="3628" y="605"/>
                  </a:moveTo>
                  <a:cubicBezTo>
                    <a:pt x="3628" y="107"/>
                    <a:pt x="3628" y="107"/>
                    <a:pt x="3628" y="107"/>
                  </a:cubicBezTo>
                  <a:cubicBezTo>
                    <a:pt x="3453" y="107"/>
                    <a:pt x="3453" y="107"/>
                    <a:pt x="3453" y="107"/>
                  </a:cubicBezTo>
                  <a:cubicBezTo>
                    <a:pt x="3453" y="11"/>
                    <a:pt x="3453" y="11"/>
                    <a:pt x="3453" y="11"/>
                  </a:cubicBezTo>
                  <a:cubicBezTo>
                    <a:pt x="3931" y="11"/>
                    <a:pt x="3931" y="11"/>
                    <a:pt x="3931" y="11"/>
                  </a:cubicBezTo>
                  <a:cubicBezTo>
                    <a:pt x="3931" y="107"/>
                    <a:pt x="3931" y="107"/>
                    <a:pt x="3931" y="107"/>
                  </a:cubicBezTo>
                  <a:cubicBezTo>
                    <a:pt x="3756" y="107"/>
                    <a:pt x="3756" y="107"/>
                    <a:pt x="3756" y="107"/>
                  </a:cubicBezTo>
                  <a:cubicBezTo>
                    <a:pt x="3756" y="605"/>
                    <a:pt x="3756" y="605"/>
                    <a:pt x="3756" y="605"/>
                  </a:cubicBezTo>
                  <a:lnTo>
                    <a:pt x="3628" y="605"/>
                  </a:lnTo>
                  <a:close/>
                </a:path>
              </a:pathLst>
            </a:custGeom>
            <a:solidFill>
              <a:srgbClr val="55555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6">
              <a:extLst>
                <a:ext uri="{FF2B5EF4-FFF2-40B4-BE49-F238E27FC236}">
                  <a16:creationId xmlns:a16="http://schemas.microsoft.com/office/drawing/2014/main" id="{710CFBDD-008A-42F6-B152-7F57EF7924FE}"/>
                </a:ext>
              </a:extLst>
            </p:cNvPr>
            <p:cNvSpPr>
              <a:spLocks/>
            </p:cNvSpPr>
            <p:nvPr userDrawn="1"/>
          </p:nvSpPr>
          <p:spPr bwMode="black">
            <a:xfrm>
              <a:off x="1231901" y="5359401"/>
              <a:ext cx="3417888" cy="2630487"/>
            </a:xfrm>
            <a:custGeom>
              <a:avLst/>
              <a:gdLst>
                <a:gd name="T0" fmla="*/ 1831 w 1831"/>
                <a:gd name="T1" fmla="*/ 726 h 1406"/>
                <a:gd name="T2" fmla="*/ 1765 w 1831"/>
                <a:gd name="T3" fmla="*/ 626 h 1406"/>
                <a:gd name="T4" fmla="*/ 1654 w 1831"/>
                <a:gd name="T5" fmla="*/ 379 h 1406"/>
                <a:gd name="T6" fmla="*/ 1533 w 1831"/>
                <a:gd name="T7" fmla="*/ 626 h 1406"/>
                <a:gd name="T8" fmla="*/ 1456 w 1831"/>
                <a:gd name="T9" fmla="*/ 726 h 1406"/>
                <a:gd name="T10" fmla="*/ 1339 w 1831"/>
                <a:gd name="T11" fmla="*/ 505 h 1406"/>
                <a:gd name="T12" fmla="*/ 1119 w 1831"/>
                <a:gd name="T13" fmla="*/ 0 h 1406"/>
                <a:gd name="T14" fmla="*/ 911 w 1831"/>
                <a:gd name="T15" fmla="*/ 506 h 1406"/>
                <a:gd name="T16" fmla="*/ 757 w 1831"/>
                <a:gd name="T17" fmla="*/ 726 h 1406"/>
                <a:gd name="T18" fmla="*/ 626 w 1831"/>
                <a:gd name="T19" fmla="*/ 553 h 1406"/>
                <a:gd name="T20" fmla="*/ 458 w 1831"/>
                <a:gd name="T21" fmla="*/ 218 h 1406"/>
                <a:gd name="T22" fmla="*/ 288 w 1831"/>
                <a:gd name="T23" fmla="*/ 562 h 1406"/>
                <a:gd name="T24" fmla="*/ 153 w 1831"/>
                <a:gd name="T25" fmla="*/ 726 h 1406"/>
                <a:gd name="T26" fmla="*/ 0 w 1831"/>
                <a:gd name="T27" fmla="*/ 726 h 1406"/>
                <a:gd name="T28" fmla="*/ 0 w 1831"/>
                <a:gd name="T29" fmla="*/ 727 h 1406"/>
                <a:gd name="T30" fmla="*/ 70 w 1831"/>
                <a:gd name="T31" fmla="*/ 830 h 1406"/>
                <a:gd name="T32" fmla="*/ 166 w 1831"/>
                <a:gd name="T33" fmla="*/ 1075 h 1406"/>
                <a:gd name="T34" fmla="*/ 268 w 1831"/>
                <a:gd name="T35" fmla="*/ 869 h 1406"/>
                <a:gd name="T36" fmla="*/ 374 w 1831"/>
                <a:gd name="T37" fmla="*/ 727 h 1406"/>
                <a:gd name="T38" fmla="*/ 506 w 1831"/>
                <a:gd name="T39" fmla="*/ 958 h 1406"/>
                <a:gd name="T40" fmla="*/ 707 w 1831"/>
                <a:gd name="T41" fmla="*/ 1406 h 1406"/>
                <a:gd name="T42" fmla="*/ 915 w 1831"/>
                <a:gd name="T43" fmla="*/ 958 h 1406"/>
                <a:gd name="T44" fmla="*/ 1083 w 1831"/>
                <a:gd name="T45" fmla="*/ 727 h 1406"/>
                <a:gd name="T46" fmla="*/ 1234 w 1831"/>
                <a:gd name="T47" fmla="*/ 901 h 1406"/>
                <a:gd name="T48" fmla="*/ 1380 w 1831"/>
                <a:gd name="T49" fmla="*/ 1131 h 1406"/>
                <a:gd name="T50" fmla="*/ 1534 w 1831"/>
                <a:gd name="T51" fmla="*/ 873 h 1406"/>
                <a:gd name="T52" fmla="*/ 1677 w 1831"/>
                <a:gd name="T53" fmla="*/ 727 h 1406"/>
                <a:gd name="T54" fmla="*/ 1831 w 1831"/>
                <a:gd name="T55" fmla="*/ 727 h 1406"/>
                <a:gd name="T56" fmla="*/ 1831 w 1831"/>
                <a:gd name="T57" fmla="*/ 726 h 1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31" h="1406">
                  <a:moveTo>
                    <a:pt x="1831" y="726"/>
                  </a:moveTo>
                  <a:cubicBezTo>
                    <a:pt x="1817" y="724"/>
                    <a:pt x="1786" y="709"/>
                    <a:pt x="1765" y="626"/>
                  </a:cubicBezTo>
                  <a:cubicBezTo>
                    <a:pt x="1730" y="493"/>
                    <a:pt x="1713" y="379"/>
                    <a:pt x="1654" y="379"/>
                  </a:cubicBezTo>
                  <a:cubicBezTo>
                    <a:pt x="1595" y="379"/>
                    <a:pt x="1568" y="493"/>
                    <a:pt x="1533" y="626"/>
                  </a:cubicBezTo>
                  <a:cubicBezTo>
                    <a:pt x="1512" y="705"/>
                    <a:pt x="1491" y="726"/>
                    <a:pt x="1456" y="726"/>
                  </a:cubicBezTo>
                  <a:cubicBezTo>
                    <a:pt x="1423" y="726"/>
                    <a:pt x="1389" y="711"/>
                    <a:pt x="1339" y="505"/>
                  </a:cubicBezTo>
                  <a:cubicBezTo>
                    <a:pt x="1295" y="325"/>
                    <a:pt x="1266" y="0"/>
                    <a:pt x="1119" y="0"/>
                  </a:cubicBezTo>
                  <a:cubicBezTo>
                    <a:pt x="973" y="0"/>
                    <a:pt x="930" y="424"/>
                    <a:pt x="911" y="506"/>
                  </a:cubicBezTo>
                  <a:cubicBezTo>
                    <a:pt x="887" y="607"/>
                    <a:pt x="830" y="726"/>
                    <a:pt x="757" y="726"/>
                  </a:cubicBezTo>
                  <a:cubicBezTo>
                    <a:pt x="685" y="726"/>
                    <a:pt x="647" y="643"/>
                    <a:pt x="626" y="553"/>
                  </a:cubicBezTo>
                  <a:cubicBezTo>
                    <a:pt x="592" y="416"/>
                    <a:pt x="555" y="218"/>
                    <a:pt x="458" y="218"/>
                  </a:cubicBezTo>
                  <a:cubicBezTo>
                    <a:pt x="362" y="218"/>
                    <a:pt x="331" y="382"/>
                    <a:pt x="288" y="562"/>
                  </a:cubicBezTo>
                  <a:cubicBezTo>
                    <a:pt x="263" y="668"/>
                    <a:pt x="223" y="726"/>
                    <a:pt x="153" y="726"/>
                  </a:cubicBezTo>
                  <a:cubicBezTo>
                    <a:pt x="0" y="726"/>
                    <a:pt x="0" y="726"/>
                    <a:pt x="0" y="726"/>
                  </a:cubicBezTo>
                  <a:cubicBezTo>
                    <a:pt x="0" y="727"/>
                    <a:pt x="0" y="727"/>
                    <a:pt x="0" y="727"/>
                  </a:cubicBezTo>
                  <a:cubicBezTo>
                    <a:pt x="20" y="733"/>
                    <a:pt x="60" y="766"/>
                    <a:pt x="70" y="830"/>
                  </a:cubicBezTo>
                  <a:cubicBezTo>
                    <a:pt x="94" y="981"/>
                    <a:pt x="113" y="1075"/>
                    <a:pt x="166" y="1075"/>
                  </a:cubicBezTo>
                  <a:cubicBezTo>
                    <a:pt x="218" y="1075"/>
                    <a:pt x="238" y="994"/>
                    <a:pt x="268" y="869"/>
                  </a:cubicBezTo>
                  <a:cubicBezTo>
                    <a:pt x="292" y="770"/>
                    <a:pt x="329" y="727"/>
                    <a:pt x="374" y="727"/>
                  </a:cubicBezTo>
                  <a:cubicBezTo>
                    <a:pt x="439" y="727"/>
                    <a:pt x="470" y="807"/>
                    <a:pt x="506" y="958"/>
                  </a:cubicBezTo>
                  <a:cubicBezTo>
                    <a:pt x="577" y="1260"/>
                    <a:pt x="592" y="1406"/>
                    <a:pt x="707" y="1406"/>
                  </a:cubicBezTo>
                  <a:cubicBezTo>
                    <a:pt x="821" y="1406"/>
                    <a:pt x="839" y="1260"/>
                    <a:pt x="915" y="958"/>
                  </a:cubicBezTo>
                  <a:cubicBezTo>
                    <a:pt x="949" y="827"/>
                    <a:pt x="1011" y="727"/>
                    <a:pt x="1083" y="727"/>
                  </a:cubicBezTo>
                  <a:cubicBezTo>
                    <a:pt x="1156" y="727"/>
                    <a:pt x="1207" y="824"/>
                    <a:pt x="1234" y="901"/>
                  </a:cubicBezTo>
                  <a:cubicBezTo>
                    <a:pt x="1291" y="1068"/>
                    <a:pt x="1317" y="1131"/>
                    <a:pt x="1380" y="1131"/>
                  </a:cubicBezTo>
                  <a:cubicBezTo>
                    <a:pt x="1443" y="1131"/>
                    <a:pt x="1478" y="1055"/>
                    <a:pt x="1534" y="873"/>
                  </a:cubicBezTo>
                  <a:cubicBezTo>
                    <a:pt x="1569" y="758"/>
                    <a:pt x="1574" y="727"/>
                    <a:pt x="1677" y="727"/>
                  </a:cubicBezTo>
                  <a:cubicBezTo>
                    <a:pt x="1831" y="727"/>
                    <a:pt x="1831" y="727"/>
                    <a:pt x="1831" y="727"/>
                  </a:cubicBezTo>
                  <a:cubicBezTo>
                    <a:pt x="1831" y="726"/>
                    <a:pt x="1831" y="726"/>
                    <a:pt x="1831" y="726"/>
                  </a:cubicBezTo>
                  <a:close/>
                </a:path>
              </a:pathLst>
            </a:custGeom>
            <a:solidFill>
              <a:srgbClr val="EB002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 name="Footer Placeholder 2">
            <a:extLst>
              <a:ext uri="{FF2B5EF4-FFF2-40B4-BE49-F238E27FC236}">
                <a16:creationId xmlns:a16="http://schemas.microsoft.com/office/drawing/2014/main" id="{23B7BE8C-9254-49C6-B935-75CCECC5C171}"/>
              </a:ext>
            </a:extLst>
          </p:cNvPr>
          <p:cNvSpPr>
            <a:spLocks noGrp="1"/>
          </p:cNvSpPr>
          <p:nvPr>
            <p:ph type="ftr" sz="quarter" idx="3"/>
          </p:nvPr>
        </p:nvSpPr>
        <p:spPr>
          <a:xfrm>
            <a:off x="4038600" y="6447297"/>
            <a:ext cx="4114800" cy="153888"/>
          </a:xfrm>
          <a:prstGeom prst="rect">
            <a:avLst/>
          </a:prstGeom>
        </p:spPr>
        <p:txBody>
          <a:bodyPr vert="horz" lIns="0" tIns="0" rIns="0" bIns="0" rtlCol="0" anchor="ctr">
            <a:spAutoFit/>
          </a:bodyPr>
          <a:lstStyle>
            <a:lvl1pPr algn="ctr">
              <a:defRPr sz="1000">
                <a:solidFill>
                  <a:schemeClr val="bg1">
                    <a:lumMod val="65000"/>
                  </a:schemeClr>
                </a:solidFill>
              </a:defRPr>
            </a:lvl1pPr>
          </a:lstStyle>
          <a:p>
            <a:r>
              <a:rPr lang="en-US" dirty="0"/>
              <a:t>Optional Title of the Presentation</a:t>
            </a:r>
          </a:p>
        </p:txBody>
      </p:sp>
    </p:spTree>
    <p:extLst>
      <p:ext uri="{BB962C8B-B14F-4D97-AF65-F5344CB8AC3E}">
        <p14:creationId xmlns:p14="http://schemas.microsoft.com/office/powerpoint/2010/main" val="3362308916"/>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20" r:id="rId3"/>
    <p:sldLayoutId id="2147483723" r:id="rId4"/>
    <p:sldLayoutId id="2147483724" r:id="rId5"/>
    <p:sldLayoutId id="2147483725" r:id="rId6"/>
    <p:sldLayoutId id="2147483726" r:id="rId7"/>
    <p:sldLayoutId id="2147483727" r:id="rId8"/>
    <p:sldLayoutId id="2147483741" r:id="rId9"/>
    <p:sldLayoutId id="2147483698" r:id="rId10"/>
    <p:sldLayoutId id="2147483740" r:id="rId11"/>
    <p:sldLayoutId id="2147483735" r:id="rId12"/>
    <p:sldLayoutId id="2147483738" r:id="rId13"/>
    <p:sldLayoutId id="2147483737" r:id="rId14"/>
    <p:sldLayoutId id="2147483732" r:id="rId15"/>
    <p:sldLayoutId id="2147483728" r:id="rId16"/>
    <p:sldLayoutId id="2147483729" r:id="rId17"/>
    <p:sldLayoutId id="2147483702" r:id="rId18"/>
  </p:sldLayoutIdLst>
  <p:hf hdr="0" dt="0"/>
  <p:txStyles>
    <p:titleStyle>
      <a:lvl1pPr algn="l" defTabSz="914400" rtl="0" eaLnBrk="1" latinLnBrk="0" hangingPunct="1">
        <a:lnSpc>
          <a:spcPct val="100000"/>
        </a:lnSpc>
        <a:spcBef>
          <a:spcPct val="0"/>
        </a:spcBef>
        <a:buNone/>
        <a:defRPr sz="3200" b="1" kern="1200">
          <a:gradFill>
            <a:gsLst>
              <a:gs pos="0">
                <a:schemeClr val="accent1"/>
              </a:gs>
              <a:gs pos="100000">
                <a:schemeClr val="accent1">
                  <a:lumMod val="50000"/>
                </a:schemeClr>
              </a:gs>
            </a:gsLst>
            <a:lin ang="5400000" scaled="1"/>
          </a:gradFill>
          <a:latin typeface="+mj-lt"/>
          <a:ea typeface="+mj-ea"/>
          <a:cs typeface="+mj-cs"/>
        </a:defRPr>
      </a:lvl1pPr>
    </p:titleStyle>
    <p:body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dirty="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blog.eggplantsoftware.com/why-highly-regulated-industries-demand-non-invasive-testing" TargetMode="External"/><Relationship Id="rId13" Type="http://schemas.openxmlformats.org/officeDocument/2006/relationships/hyperlink" Target="https://info.eggplantsoftware.com/hubfs/Partner%20Portal%20Content/Ensuring%20mission%20success%20in%20Defense%20and%20Aerospace%20with%20Eggplant%20suite.eml" TargetMode="External"/><Relationship Id="rId3" Type="http://schemas.openxmlformats.org/officeDocument/2006/relationships/hyperlink" Target="https://www.youtube.com/watch?v=UacKMBri-xk" TargetMode="External"/><Relationship Id="rId7" Type="http://schemas.openxmlformats.org/officeDocument/2006/relationships/hyperlink" Target="https://blog.eggplantsoftware.com/software-testing-mission-critical-systems" TargetMode="External"/><Relationship Id="rId12" Type="http://schemas.openxmlformats.org/officeDocument/2006/relationships/hyperlink" Target="https://blog.eggplantsoftware.com/case-studies/canoe-and-eggplant-function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hyperlink" Target="https://blog.eggplantsoftware.com/command-and-control-powered-by-ai-driven-test-automation" TargetMode="External"/><Relationship Id="rId11" Type="http://schemas.openxmlformats.org/officeDocument/2006/relationships/hyperlink" Target="https://blog.eggplantsoftware.com/case-studies/nasa-orion-spacecraft" TargetMode="External"/><Relationship Id="rId5" Type="http://schemas.openxmlformats.org/officeDocument/2006/relationships/hyperlink" Target="https://info.eggplantsoftware.com/hubfs/Defense%20and%20Aerosapce/Google%20Earth%20Demo.mp4" TargetMode="External"/><Relationship Id="rId10" Type="http://schemas.openxmlformats.org/officeDocument/2006/relationships/hyperlink" Target="https://blog.eggplantsoftware.com/could-a-devsecops-state-of-mind-help-us-emerge-stronger" TargetMode="External"/><Relationship Id="rId4" Type="http://schemas.openxmlformats.org/officeDocument/2006/relationships/hyperlink" Target="https://www.youtube.com/watch?v=pmmxKTl7cbM" TargetMode="External"/><Relationship Id="rId9" Type="http://schemas.openxmlformats.org/officeDocument/2006/relationships/hyperlink" Target="https://blog.eggplantsoftware.com/maintaining-military-advantage-at-the-pace-of-devsecop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info.eggplantsoftware.com/buyers-guide-to-evaluating-test-automation-solutions?utm_content=Buyer%27s%20Guide&amp;utm_campaign=Website_Buyer%27s%20Guide_Download&amp;utm_source=hs_email&amp;utm_medium=email&amp;_hsenc=p2ANqtz-8WJI3uyuu3NeftAHEmvy_1vqFbntRHA9hCIoZpKmdUlJOedgWuPRLmluMf7hVg7JTixv8o"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3.tiff"/><Relationship Id="rId13" Type="http://schemas.openxmlformats.org/officeDocument/2006/relationships/image" Target="../media/image18.tiff"/><Relationship Id="rId18" Type="http://schemas.openxmlformats.org/officeDocument/2006/relationships/image" Target="../media/image23.tiff"/><Relationship Id="rId3" Type="http://schemas.openxmlformats.org/officeDocument/2006/relationships/image" Target="../media/image8.tiff"/><Relationship Id="rId21" Type="http://schemas.openxmlformats.org/officeDocument/2006/relationships/image" Target="../media/image26.tiff"/><Relationship Id="rId7" Type="http://schemas.openxmlformats.org/officeDocument/2006/relationships/image" Target="../media/image12.tiff"/><Relationship Id="rId12" Type="http://schemas.openxmlformats.org/officeDocument/2006/relationships/image" Target="../media/image17.tiff"/><Relationship Id="rId17" Type="http://schemas.openxmlformats.org/officeDocument/2006/relationships/image" Target="../media/image22.tiff"/><Relationship Id="rId2" Type="http://schemas.openxmlformats.org/officeDocument/2006/relationships/image" Target="../media/image7.tiff"/><Relationship Id="rId16" Type="http://schemas.openxmlformats.org/officeDocument/2006/relationships/image" Target="../media/image21.tiff"/><Relationship Id="rId20" Type="http://schemas.openxmlformats.org/officeDocument/2006/relationships/image" Target="../media/image25.tiff"/><Relationship Id="rId1" Type="http://schemas.openxmlformats.org/officeDocument/2006/relationships/slideLayout" Target="../slideLayouts/slideLayout11.xml"/><Relationship Id="rId6" Type="http://schemas.openxmlformats.org/officeDocument/2006/relationships/image" Target="../media/image11.tiff"/><Relationship Id="rId11" Type="http://schemas.openxmlformats.org/officeDocument/2006/relationships/image" Target="../media/image16.tiff"/><Relationship Id="rId5" Type="http://schemas.openxmlformats.org/officeDocument/2006/relationships/image" Target="../media/image10.tiff"/><Relationship Id="rId15" Type="http://schemas.openxmlformats.org/officeDocument/2006/relationships/image" Target="../media/image20.tiff"/><Relationship Id="rId23" Type="http://schemas.openxmlformats.org/officeDocument/2006/relationships/image" Target="../media/image28.tiff"/><Relationship Id="rId10" Type="http://schemas.openxmlformats.org/officeDocument/2006/relationships/image" Target="../media/image15.tiff"/><Relationship Id="rId19" Type="http://schemas.openxmlformats.org/officeDocument/2006/relationships/image" Target="../media/image24.tiff"/><Relationship Id="rId4" Type="http://schemas.openxmlformats.org/officeDocument/2006/relationships/image" Target="../media/image9.tiff"/><Relationship Id="rId9" Type="http://schemas.openxmlformats.org/officeDocument/2006/relationships/image" Target="../media/image14.tiff"/><Relationship Id="rId14" Type="http://schemas.openxmlformats.org/officeDocument/2006/relationships/image" Target="../media/image19.tiff"/><Relationship Id="rId22" Type="http://schemas.openxmlformats.org/officeDocument/2006/relationships/image" Target="../media/image27.tiff"/></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hyperlink" Target="https://www.eggplantsoftware.com/digital-automation-intelligence" TargetMode="External"/><Relationship Id="rId2" Type="http://schemas.openxmlformats.org/officeDocument/2006/relationships/notesSlide" Target="../notesSlides/notesSlide6.xml"/><Relationship Id="rId1" Type="http://schemas.openxmlformats.org/officeDocument/2006/relationships/slideLayout" Target="../slideLayouts/slideLayout6.xml"/><Relationship Id="rId6" Type="http://schemas.openxmlformats.org/officeDocument/2006/relationships/hyperlink" Target="https://www.eggplantsoftware.com/eggplant-robotic-process-automation" TargetMode="External"/><Relationship Id="rId5" Type="http://schemas.openxmlformats.org/officeDocument/2006/relationships/hyperlink" Target="https://www.eggplantsoftware.com/performance-and-load-testing" TargetMode="External"/><Relationship Id="rId4" Type="http://schemas.openxmlformats.org/officeDocument/2006/relationships/hyperlink" Target="https://www.eggplantsoftware.com/monitoring-insights" TargetMode="External"/></Relationships>
</file>

<file path=ppt/slides/_rels/slide9.xml.rels><?xml version="1.0" encoding="UTF-8" standalone="yes"?>
<Relationships xmlns="http://schemas.openxmlformats.org/package/2006/relationships"><Relationship Id="rId8" Type="http://schemas.openxmlformats.org/officeDocument/2006/relationships/hyperlink" Target="https://www.linkedin.com/posts/eggplant-software_with-nasas-perseverance-landing-on-mars-activity-6770772153114599424-8EV9" TargetMode="External"/><Relationship Id="rId13" Type="http://schemas.openxmlformats.org/officeDocument/2006/relationships/hyperlink" Target="%3cblockquote%20class=%22twitter-tweet%22%3e%3cp%20lang=%22en%22%20dir=%22ltr%22%3eJust%20as%20in%20the%20corporate%20world,%20speed%20of%20release%20is%20a%20critical%20driver%20in%20regulated%20environments.%20%3ca%20href=%22https:/twitter.com/hashtag/DevOps?src=hash&amp;amp;ref_src=twsrc%5Etfw%22%3e#DevOps&lt;/a> creates an environment in which teams can release software faster &amp;amp; more reliably.&lt;br>&lt;br>Our playbook explores this &amp;amp; more - download your free copy today &lt;a href=&quot;https://t.co/ACEs2INfAu&quot;>https://t.co/ACEs2INfAu&lt;/a> &lt;a href=&quot;https://t.co/1scUF3jZ0x&quot;>pic.twitter.com/1scUF3jZ0x&lt;/a>&lt;/p>&amp;mdash; eggplantio (@eggplantio) &lt;a href=&quot;https://twitter.com/eggplantio/status/1361593773206216704?ref_src=twsrc%5Etfw&quot;>February 16, 2021&lt;/a>&lt;/blockquote> &lt;script async src=&quot;https://platform.twitter.com/widgets.js&quot; charset=&quot;utf-8&quot;>&lt;/script>" TargetMode="External"/><Relationship Id="rId3" Type="http://schemas.openxmlformats.org/officeDocument/2006/relationships/hyperlink" Target="https://info.eggplantsoftware.com/test-automation-solutions-for-aerospace-defense" TargetMode="External"/><Relationship Id="rId7" Type="http://schemas.openxmlformats.org/officeDocument/2006/relationships/hyperlink" Target="https://info.eggplantsoftware.com/hubfs/Product%20Marketing%20PDFs/Automation%20the%20Answer%20to%20Efficiency%20Demands.pdf" TargetMode="External"/><Relationship Id="rId12" Type="http://schemas.openxmlformats.org/officeDocument/2006/relationships/hyperlink" Target="https://twitter.com/eggplantio/status/1364138199208112131?ref_src=twsrc%5Etfw%7Ctwcamp%5Etweetembed%7Ctwterm%5E1364138199208112131%7Ctwgr%5E%7Ctwcon%5Es1_c10&amp;ref_url=https%3A%2F%2Fpublish.twitter.com%2F%3Fquery%3Dhttps3A2F2Ftwitter.com2Feggplantio2Fstatus2F1364138199208112131widget%3DTweet"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hyperlink" Target="https://info.eggplantsoftware.com/hubfs/Product%20Marketing%20PDFs/Want%20to%20Be%20Digital%20First%3F%20Then%20You%20Need%20Hyperautomation.pdf" TargetMode="External"/><Relationship Id="rId11" Type="http://schemas.openxmlformats.org/officeDocument/2006/relationships/hyperlink" Target="%3cblockquote%20class=%22twitter-tweet%22%3e%3cp%20lang=%22en%22%20dir=%22ltr%22%3eWith%20%3ca%20href=%22https:/twitter.com/NASAPersevere?ref_src=twsrc%5Etfw%22%3e@NASAPersevere%3c/a%3e%20landing%20on%20Mars%20last%20week,%20we%20take%20a%20look%20back%20at%20when%20Eggplant%20was%20chosen%20by%20the%20Rapid%20Prototyping%20Lab%20as%20one%20of%20its%20software%20verification%20tools%20to%20test%20%3ca%20href=%22https://twitter.com/NASA?ref_src=twsrc%5Etfw%22%3e@NASA%3c/a%3e%20Orion&amp;#39;s cockpit display simulation software&lt;/p>&amp;mdash; eggplantio (@eggplantio) &lt;a href=&quot;https://twitter.com/eggplantio/status/1365006146705051653?ref_src=twsrc%5Etfw&quot;>February 25, 2021&lt;/a>&lt;/blockquote> &lt;script async src=&quot;https://platform.twitter.com/widgets.js&quot; charset=&quot;utf-8&quot;>&lt;/script>" TargetMode="External"/><Relationship Id="rId5" Type="http://schemas.openxmlformats.org/officeDocument/2006/relationships/hyperlink" Target="https://info.eggplantsoftware.com/hubfs/Product%20Marketing%20PDFs/The%20Guide%20to%20Winning%20at%20Digital%20Transformation.pdf" TargetMode="External"/><Relationship Id="rId10" Type="http://schemas.openxmlformats.org/officeDocument/2006/relationships/hyperlink" Target="https://www.linkedin.com/feed/update/urn:li:activity:6768469585676013568" TargetMode="External"/><Relationship Id="rId4" Type="http://schemas.openxmlformats.org/officeDocument/2006/relationships/hyperlink" Target="https://info.eggplantsoftware.com/hubfs/Product%20Marketing%20PDFs/Testing%20in%20Regulated%20Environments.pdf" TargetMode="External"/><Relationship Id="rId9" Type="http://schemas.openxmlformats.org/officeDocument/2006/relationships/hyperlink" Target="https://www.linkedin.com/posts/eggplant-software_devops-softwaretesting-regulatoryservices-activity-6767359372847796224-YEu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514E67-E40F-41CB-9B53-C634BFE3E6D9}"/>
              </a:ext>
            </a:extLst>
          </p:cNvPr>
          <p:cNvSpPr>
            <a:spLocks noGrp="1"/>
          </p:cNvSpPr>
          <p:nvPr>
            <p:ph type="title"/>
          </p:nvPr>
        </p:nvSpPr>
        <p:spPr>
          <a:xfrm>
            <a:off x="1409700" y="1813133"/>
            <a:ext cx="9372600" cy="1336928"/>
          </a:xfrm>
        </p:spPr>
        <p:txBody>
          <a:bodyPr/>
          <a:lstStyle/>
          <a:p>
            <a:r>
              <a:rPr lang="en-GB" dirty="0">
                <a:solidFill>
                  <a:srgbClr val="272626"/>
                </a:solidFill>
              </a:rPr>
              <a:t>Campaign in a Box</a:t>
            </a:r>
            <a:br>
              <a:rPr lang="en-GB" dirty="0"/>
            </a:br>
            <a:br>
              <a:rPr lang="en-GB" sz="1050" dirty="0"/>
            </a:br>
            <a:r>
              <a:rPr lang="en-GB" sz="5400" dirty="0"/>
              <a:t>Defense &amp; Aerospace</a:t>
            </a:r>
            <a:endParaRPr lang="en-US" sz="5400" dirty="0"/>
          </a:p>
        </p:txBody>
      </p:sp>
    </p:spTree>
    <p:extLst>
      <p:ext uri="{BB962C8B-B14F-4D97-AF65-F5344CB8AC3E}">
        <p14:creationId xmlns:p14="http://schemas.microsoft.com/office/powerpoint/2010/main" val="379742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Assets</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3495678" y="278811"/>
            <a:ext cx="806291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a:buClr>
                <a:srgbClr val="C00000"/>
              </a:buClr>
            </a:pPr>
            <a:r>
              <a:rPr lang="en-GB" sz="1700" b="1" dirty="0">
                <a:solidFill>
                  <a:srgbClr val="C00000"/>
                </a:solidFill>
              </a:rPr>
              <a:t>Video</a:t>
            </a:r>
          </a:p>
          <a:p>
            <a:pPr lvl="1"/>
            <a:r>
              <a:rPr lang="en-GB" sz="1700" dirty="0">
                <a:hlinkClick r:id="rId3">
                  <a:extLst>
                    <a:ext uri="{A12FA001-AC4F-418D-AE19-62706E023703}">
                      <ahyp:hlinkClr xmlns:ahyp="http://schemas.microsoft.com/office/drawing/2018/hyperlinkcolor" val="tx"/>
                    </a:ext>
                  </a:extLst>
                </a:hlinkClick>
              </a:rPr>
              <a:t>Test Mission Critical Technology with Eggplant</a:t>
            </a:r>
            <a:endParaRPr lang="en-GB" sz="1700" dirty="0"/>
          </a:p>
          <a:p>
            <a:pPr lvl="1"/>
            <a:r>
              <a:rPr lang="en-GB" sz="1700" dirty="0">
                <a:hlinkClick r:id="rId4">
                  <a:extLst>
                    <a:ext uri="{A12FA001-AC4F-418D-AE19-62706E023703}">
                      <ahyp:hlinkClr xmlns:ahyp="http://schemas.microsoft.com/office/drawing/2018/hyperlinkcolor" val="tx"/>
                    </a:ext>
                  </a:extLst>
                </a:hlinkClick>
              </a:rPr>
              <a:t>Eggplant: Next Generation Approach to Test</a:t>
            </a:r>
            <a:endParaRPr lang="en-GB" sz="1700" dirty="0"/>
          </a:p>
          <a:p>
            <a:pPr lvl="1">
              <a:buClr>
                <a:srgbClr val="C00000"/>
              </a:buClr>
            </a:pPr>
            <a:r>
              <a:rPr lang="en-GB" sz="1700" dirty="0">
                <a:hlinkClick r:id="rId5">
                  <a:extLst>
                    <a:ext uri="{A12FA001-AC4F-418D-AE19-62706E023703}">
                      <ahyp:hlinkClr xmlns:ahyp="http://schemas.microsoft.com/office/drawing/2018/hyperlinkcolor" val="tx"/>
                    </a:ext>
                  </a:extLst>
                </a:hlinkClick>
              </a:rPr>
              <a:t>Google Earth demo</a:t>
            </a:r>
            <a:endParaRPr lang="en-GB" sz="1700" dirty="0"/>
          </a:p>
          <a:p>
            <a:pPr>
              <a:buClr>
                <a:srgbClr val="C00000"/>
              </a:buClr>
            </a:pPr>
            <a:r>
              <a:rPr lang="en-GB" sz="1700" b="1" dirty="0">
                <a:solidFill>
                  <a:srgbClr val="C00000"/>
                </a:solidFill>
              </a:rPr>
              <a:t>Blog Post</a:t>
            </a:r>
          </a:p>
          <a:p>
            <a:pPr lvl="1">
              <a:buClr>
                <a:srgbClr val="C00000"/>
              </a:buClr>
            </a:pPr>
            <a:r>
              <a:rPr lang="en-GB" sz="1700" dirty="0">
                <a:hlinkClick r:id="rId6">
                  <a:extLst>
                    <a:ext uri="{A12FA001-AC4F-418D-AE19-62706E023703}">
                      <ahyp:hlinkClr xmlns:ahyp="http://schemas.microsoft.com/office/drawing/2018/hyperlinkcolor" val="tx"/>
                    </a:ext>
                  </a:extLst>
                </a:hlinkClick>
              </a:rPr>
              <a:t>The Future of Command and Control Testing</a:t>
            </a:r>
            <a:endParaRPr lang="en-GB" sz="1700" dirty="0"/>
          </a:p>
          <a:p>
            <a:pPr lvl="1">
              <a:buClr>
                <a:srgbClr val="C00000"/>
              </a:buClr>
            </a:pPr>
            <a:r>
              <a:rPr lang="en-GB" sz="1700" dirty="0">
                <a:hlinkClick r:id="rId7">
                  <a:extLst>
                    <a:ext uri="{A12FA001-AC4F-418D-AE19-62706E023703}">
                      <ahyp:hlinkClr xmlns:ahyp="http://schemas.microsoft.com/office/drawing/2018/hyperlinkcolor" val="tx"/>
                    </a:ext>
                  </a:extLst>
                </a:hlinkClick>
              </a:rPr>
              <a:t>The Role of Testing in Mission Critical Software Systems</a:t>
            </a:r>
            <a:endParaRPr lang="en-GB" sz="1700" dirty="0"/>
          </a:p>
          <a:p>
            <a:pPr lvl="1">
              <a:buClr>
                <a:srgbClr val="C00000"/>
              </a:buClr>
            </a:pPr>
            <a:r>
              <a:rPr lang="en-GB" sz="1700" dirty="0">
                <a:hlinkClick r:id="rId8">
                  <a:extLst>
                    <a:ext uri="{A12FA001-AC4F-418D-AE19-62706E023703}">
                      <ahyp:hlinkClr xmlns:ahyp="http://schemas.microsoft.com/office/drawing/2018/hyperlinkcolor" val="tx"/>
                    </a:ext>
                  </a:extLst>
                </a:hlinkClick>
              </a:rPr>
              <a:t>Why Highly Regulated Industries Demand Non-Invasive Testing</a:t>
            </a:r>
            <a:endParaRPr lang="en-GB" sz="1700" dirty="0"/>
          </a:p>
          <a:p>
            <a:pPr lvl="1">
              <a:buClr>
                <a:srgbClr val="C00000"/>
              </a:buClr>
            </a:pPr>
            <a:r>
              <a:rPr lang="en-GB" sz="1700" dirty="0">
                <a:hlinkClick r:id="rId9">
                  <a:extLst>
                    <a:ext uri="{A12FA001-AC4F-418D-AE19-62706E023703}">
                      <ahyp:hlinkClr xmlns:ahyp="http://schemas.microsoft.com/office/drawing/2018/hyperlinkcolor" val="tx"/>
                    </a:ext>
                  </a:extLst>
                </a:hlinkClick>
              </a:rPr>
              <a:t>Maintaining Military Advantage at the Pace of DevSecOps</a:t>
            </a:r>
            <a:endParaRPr lang="en-GB" sz="1700" dirty="0"/>
          </a:p>
          <a:p>
            <a:pPr lvl="1">
              <a:buClr>
                <a:srgbClr val="C00000"/>
              </a:buClr>
            </a:pPr>
            <a:r>
              <a:rPr lang="en-GB" sz="1700" dirty="0">
                <a:hlinkClick r:id="rId10">
                  <a:extLst>
                    <a:ext uri="{A12FA001-AC4F-418D-AE19-62706E023703}">
                      <ahyp:hlinkClr xmlns:ahyp="http://schemas.microsoft.com/office/drawing/2018/hyperlinkcolor" val="tx"/>
                    </a:ext>
                  </a:extLst>
                </a:hlinkClick>
              </a:rPr>
              <a:t>Could a DevSecOps State of Mind Help Us Emerge Stronger?</a:t>
            </a:r>
            <a:endParaRPr lang="en-GB" sz="1700" dirty="0"/>
          </a:p>
          <a:p>
            <a:pPr>
              <a:buClr>
                <a:srgbClr val="C00000"/>
              </a:buClr>
            </a:pPr>
            <a:r>
              <a:rPr lang="en-GB" sz="1700" b="1" dirty="0">
                <a:solidFill>
                  <a:srgbClr val="C00000"/>
                </a:solidFill>
              </a:rPr>
              <a:t>Case Study</a:t>
            </a:r>
          </a:p>
          <a:p>
            <a:pPr lvl="1">
              <a:buClr>
                <a:srgbClr val="C00000"/>
              </a:buClr>
            </a:pPr>
            <a:r>
              <a:rPr lang="en-GB" sz="1700" dirty="0">
                <a:hlinkClick r:id="rId11">
                  <a:extLst>
                    <a:ext uri="{A12FA001-AC4F-418D-AE19-62706E023703}">
                      <ahyp:hlinkClr xmlns:ahyp="http://schemas.microsoft.com/office/drawing/2018/hyperlinkcolor" val="tx"/>
                    </a:ext>
                  </a:extLst>
                </a:hlinkClick>
              </a:rPr>
              <a:t>NASA</a:t>
            </a:r>
            <a:endParaRPr lang="en-GB" sz="1700" dirty="0"/>
          </a:p>
          <a:p>
            <a:pPr lvl="1">
              <a:buClr>
                <a:srgbClr val="C00000"/>
              </a:buClr>
            </a:pPr>
            <a:r>
              <a:rPr lang="en-GB" sz="1700" dirty="0">
                <a:hlinkClick r:id="rId11">
                  <a:extLst>
                    <a:ext uri="{A12FA001-AC4F-418D-AE19-62706E023703}">
                      <ahyp:hlinkClr xmlns:ahyp="http://schemas.microsoft.com/office/drawing/2018/hyperlinkcolor" val="tx"/>
                    </a:ext>
                  </a:extLst>
                </a:hlinkClick>
              </a:rPr>
              <a:t>US Army</a:t>
            </a:r>
            <a:endParaRPr lang="en-GB" sz="1700" dirty="0"/>
          </a:p>
          <a:p>
            <a:pPr lvl="1">
              <a:buClr>
                <a:srgbClr val="C00000"/>
              </a:buClr>
            </a:pPr>
            <a:r>
              <a:rPr lang="en-GB" sz="1700" dirty="0">
                <a:hlinkClick r:id="rId12">
                  <a:extLst>
                    <a:ext uri="{A12FA001-AC4F-418D-AE19-62706E023703}">
                      <ahyp:hlinkClr xmlns:ahyp="http://schemas.microsoft.com/office/drawing/2018/hyperlinkcolor" val="tx"/>
                    </a:ext>
                  </a:extLst>
                </a:hlinkClick>
              </a:rPr>
              <a:t>CANoe</a:t>
            </a:r>
            <a:endParaRPr lang="en-GB" sz="1700" dirty="0"/>
          </a:p>
          <a:p>
            <a:pPr>
              <a:buClr>
                <a:srgbClr val="C00000"/>
              </a:buClr>
            </a:pPr>
            <a:r>
              <a:rPr lang="en-GB" sz="1700" b="1" dirty="0">
                <a:solidFill>
                  <a:srgbClr val="C00000"/>
                </a:solidFill>
              </a:rPr>
              <a:t>Email sample</a:t>
            </a:r>
          </a:p>
          <a:p>
            <a:pPr lvl="1">
              <a:buClr>
                <a:srgbClr val="C00000"/>
              </a:buClr>
            </a:pPr>
            <a:r>
              <a:rPr lang="en-GB" sz="1700" dirty="0">
                <a:solidFill>
                  <a:schemeClr val="tx1"/>
                </a:solidFill>
                <a:hlinkClick r:id="rId13">
                  <a:extLst>
                    <a:ext uri="{A12FA001-AC4F-418D-AE19-62706E023703}">
                      <ahyp:hlinkClr xmlns:ahyp="http://schemas.microsoft.com/office/drawing/2018/hyperlinkcolor" val="tx"/>
                    </a:ext>
                  </a:extLst>
                </a:hlinkClick>
              </a:rPr>
              <a:t>Ensuring mission success in Defense and Aerospace with Eggplant suite</a:t>
            </a:r>
            <a:endParaRPr lang="en-GB" sz="1700" dirty="0">
              <a:solidFill>
                <a:schemeClr val="tx1"/>
              </a:solidFill>
            </a:endParaRPr>
          </a:p>
        </p:txBody>
      </p:sp>
      <p:sp>
        <p:nvSpPr>
          <p:cNvPr id="6" name="Content Placeholder 5">
            <a:extLst>
              <a:ext uri="{FF2B5EF4-FFF2-40B4-BE49-F238E27FC236}">
                <a16:creationId xmlns:a16="http://schemas.microsoft.com/office/drawing/2014/main" id="{0592B8D8-B368-CB4E-95A3-457FE32E8902}"/>
              </a:ext>
            </a:extLst>
          </p:cNvPr>
          <p:cNvSpPr>
            <a:spLocks noGrp="1"/>
          </p:cNvSpPr>
          <p:nvPr>
            <p:ph sz="quarter" idx="14"/>
          </p:nvPr>
        </p:nvSpPr>
        <p:spPr>
          <a:xfrm>
            <a:off x="449579" y="1802869"/>
            <a:ext cx="2322195" cy="4479059"/>
          </a:xfrm>
        </p:spPr>
        <p:txBody>
          <a:bodyPr/>
          <a:lstStyle/>
          <a:p>
            <a:pPr marL="0" indent="0">
              <a:buNone/>
            </a:pPr>
            <a:r>
              <a:rPr lang="en-GB" sz="1700" dirty="0">
                <a:solidFill>
                  <a:srgbClr val="524F56"/>
                </a:solidFill>
              </a:rPr>
              <a:t>Please navigate to an array of Eggplant’s assets at your disposal.</a:t>
            </a:r>
          </a:p>
          <a:p>
            <a:pPr marL="0" indent="0">
              <a:buNone/>
            </a:pPr>
            <a:endParaRPr lang="en-GB" sz="1700" dirty="0">
              <a:solidFill>
                <a:srgbClr val="524F56"/>
              </a:solidFill>
            </a:endParaRPr>
          </a:p>
          <a:p>
            <a:pPr marL="0" indent="0">
              <a:buNone/>
            </a:pPr>
            <a:r>
              <a:rPr lang="en-GB" sz="1700" b="1" dirty="0">
                <a:solidFill>
                  <a:srgbClr val="524F56"/>
                </a:solidFill>
              </a:rPr>
              <a:t>Please note</a:t>
            </a:r>
            <a:r>
              <a:rPr lang="en-GB" sz="1700" dirty="0">
                <a:solidFill>
                  <a:srgbClr val="524F56"/>
                </a:solidFill>
              </a:rPr>
              <a:t>: Content will be co-branded at partner’s request.</a:t>
            </a:r>
          </a:p>
          <a:p>
            <a:endParaRPr lang="en-US" dirty="0">
              <a:solidFill>
                <a:srgbClr val="524F56"/>
              </a:solidFill>
            </a:endParaRPr>
          </a:p>
        </p:txBody>
      </p:sp>
    </p:spTree>
    <p:extLst>
      <p:ext uri="{BB962C8B-B14F-4D97-AF65-F5344CB8AC3E}">
        <p14:creationId xmlns:p14="http://schemas.microsoft.com/office/powerpoint/2010/main" val="1376259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4D5D8D5-D908-4B33-8935-0B86B0C36E4E}"/>
              </a:ext>
            </a:extLst>
          </p:cNvPr>
          <p:cNvSpPr>
            <a:spLocks noGrp="1"/>
          </p:cNvSpPr>
          <p:nvPr>
            <p:ph sz="quarter" idx="14"/>
          </p:nvPr>
        </p:nvSpPr>
        <p:spPr/>
        <p:txBody>
          <a:bodyPr/>
          <a:lstStyle/>
          <a:p>
            <a:pPr marL="0" indent="0">
              <a:buNone/>
            </a:pPr>
            <a:r>
              <a:rPr lang="en-GB" sz="1800" dirty="0"/>
              <a:t>Are you looking to change your test automation solution?</a:t>
            </a:r>
          </a:p>
          <a:p>
            <a:pPr marL="0" indent="0" algn="just">
              <a:buNone/>
            </a:pPr>
            <a:r>
              <a:rPr lang="en-GB" sz="1800" dirty="0"/>
              <a:t>This </a:t>
            </a:r>
            <a:r>
              <a:rPr lang="en-GB" sz="1800" dirty="0">
                <a:hlinkClick r:id="rId3">
                  <a:extLst>
                    <a:ext uri="{A12FA001-AC4F-418D-AE19-62706E023703}">
                      <ahyp:hlinkClr xmlns:ahyp="http://schemas.microsoft.com/office/drawing/2018/hyperlinkcolor" val="tx"/>
                    </a:ext>
                  </a:extLst>
                </a:hlinkClick>
              </a:rPr>
              <a:t>buyer's guide</a:t>
            </a:r>
            <a:r>
              <a:rPr lang="en-GB" sz="1800" dirty="0"/>
              <a:t> is designed to help you choose the right product, condensing hundreds of hours of research into one easy-to-read guide to help you make the right investment in 2021.</a:t>
            </a:r>
          </a:p>
          <a:p>
            <a:pPr marL="0" indent="0" algn="just">
              <a:buNone/>
            </a:pPr>
            <a:r>
              <a:rPr lang="en-GB" sz="1800" dirty="0"/>
              <a:t>Here’s what you will learn:</a:t>
            </a:r>
          </a:p>
          <a:p>
            <a:pPr algn="just">
              <a:spcBef>
                <a:spcPts val="400"/>
              </a:spcBef>
            </a:pPr>
            <a:r>
              <a:rPr lang="en-GB" sz="1800" dirty="0"/>
              <a:t>5 signs you need to change your test automation platform</a:t>
            </a:r>
          </a:p>
          <a:p>
            <a:pPr algn="just">
              <a:spcBef>
                <a:spcPts val="400"/>
              </a:spcBef>
            </a:pPr>
            <a:r>
              <a:rPr lang="en-GB" sz="1800" dirty="0"/>
              <a:t>3 pitfalls to avoid when choosing a test automation solution</a:t>
            </a:r>
          </a:p>
          <a:p>
            <a:pPr algn="just">
              <a:spcBef>
                <a:spcPts val="400"/>
              </a:spcBef>
            </a:pPr>
            <a:r>
              <a:rPr lang="en-GB" sz="1800" dirty="0"/>
              <a:t>The cost of choosing a wrong solution</a:t>
            </a:r>
          </a:p>
          <a:p>
            <a:pPr algn="just">
              <a:spcBef>
                <a:spcPts val="400"/>
              </a:spcBef>
            </a:pPr>
            <a:r>
              <a:rPr lang="en-GB" sz="1800" dirty="0"/>
              <a:t>Actionable tips for evaluating a test automation provider</a:t>
            </a:r>
          </a:p>
          <a:p>
            <a:pPr algn="just">
              <a:spcBef>
                <a:spcPts val="400"/>
              </a:spcBef>
            </a:pPr>
            <a:r>
              <a:rPr lang="en-GB" sz="1800" dirty="0"/>
              <a:t>A ready to use technical checklist</a:t>
            </a:r>
          </a:p>
          <a:p>
            <a:pPr marL="0" indent="0" algn="just">
              <a:buNone/>
            </a:pPr>
            <a:r>
              <a:rPr lang="en-GB" sz="1800" dirty="0">
                <a:hlinkClick r:id="rId3">
                  <a:extLst>
                    <a:ext uri="{A12FA001-AC4F-418D-AE19-62706E023703}">
                      <ahyp:hlinkClr xmlns:ahyp="http://schemas.microsoft.com/office/drawing/2018/hyperlinkcolor" val="tx"/>
                    </a:ext>
                  </a:extLst>
                </a:hlinkClick>
              </a:rPr>
              <a:t>Click here</a:t>
            </a:r>
            <a:r>
              <a:rPr lang="en-GB" sz="1800" dirty="0"/>
              <a:t> to access your free copy.</a:t>
            </a:r>
          </a:p>
          <a:p>
            <a:endParaRPr lang="en-GB" sz="1800" dirty="0"/>
          </a:p>
        </p:txBody>
      </p:sp>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Call to Action</a:t>
            </a:r>
          </a:p>
        </p:txBody>
      </p:sp>
      <p:sp>
        <p:nvSpPr>
          <p:cNvPr id="3" name="Text Placeholder 2">
            <a:extLst>
              <a:ext uri="{FF2B5EF4-FFF2-40B4-BE49-F238E27FC236}">
                <a16:creationId xmlns:a16="http://schemas.microsoft.com/office/drawing/2014/main" id="{56E22D24-338B-4AE6-83EF-27BC7608857E}"/>
              </a:ext>
            </a:extLst>
          </p:cNvPr>
          <p:cNvSpPr>
            <a:spLocks noGrp="1"/>
          </p:cNvSpPr>
          <p:nvPr>
            <p:ph type="body" sz="quarter" idx="13"/>
          </p:nvPr>
        </p:nvSpPr>
        <p:spPr>
          <a:xfrm>
            <a:off x="449201" y="926036"/>
            <a:ext cx="7453790" cy="640175"/>
          </a:xfrm>
        </p:spPr>
        <p:txBody>
          <a:bodyPr/>
          <a:lstStyle/>
          <a:p>
            <a:pPr>
              <a:spcBef>
                <a:spcPts val="0"/>
              </a:spcBef>
            </a:pPr>
            <a:r>
              <a:rPr lang="en-US" dirty="0">
                <a:latin typeface="Montserrat" pitchFamily="2" charset="77"/>
              </a:rPr>
              <a:t>Buyer’s Guide:</a:t>
            </a:r>
          </a:p>
          <a:p>
            <a:pPr>
              <a:spcBef>
                <a:spcPts val="0"/>
              </a:spcBef>
            </a:pPr>
            <a:r>
              <a:rPr lang="en-US" dirty="0">
                <a:latin typeface="Montserrat" pitchFamily="2" charset="77"/>
              </a:rPr>
              <a:t>Evaluating Test Automation Solutions</a:t>
            </a:r>
          </a:p>
        </p:txBody>
      </p:sp>
      <p:sp>
        <p:nvSpPr>
          <p:cNvPr id="2" name="Footer Placeholder 1">
            <a:extLst>
              <a:ext uri="{FF2B5EF4-FFF2-40B4-BE49-F238E27FC236}">
                <a16:creationId xmlns:a16="http://schemas.microsoft.com/office/drawing/2014/main" id="{A8CF9DAD-F0B5-4EC3-A10D-7B113F939D51}"/>
              </a:ext>
            </a:extLst>
          </p:cNvPr>
          <p:cNvSpPr>
            <a:spLocks noGrp="1"/>
          </p:cNvSpPr>
          <p:nvPr>
            <p:ph type="ftr" sz="quarter" idx="15"/>
          </p:nvPr>
        </p:nvSpPr>
        <p:spPr/>
        <p:txBody>
          <a:bodyPr/>
          <a:lstStyle/>
          <a:p>
            <a:r>
              <a:rPr lang="en-US" dirty="0"/>
              <a:t>Optional Title of the Presentation</a:t>
            </a:r>
          </a:p>
        </p:txBody>
      </p:sp>
    </p:spTree>
    <p:extLst>
      <p:ext uri="{BB962C8B-B14F-4D97-AF65-F5344CB8AC3E}">
        <p14:creationId xmlns:p14="http://schemas.microsoft.com/office/powerpoint/2010/main" val="4188945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9980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E3EB408A-3B94-B344-8EDA-7481A80CA827}"/>
              </a:ext>
            </a:extLst>
          </p:cNvPr>
          <p:cNvSpPr txBox="1"/>
          <p:nvPr/>
        </p:nvSpPr>
        <p:spPr>
          <a:xfrm>
            <a:off x="209492" y="1151497"/>
            <a:ext cx="10782651" cy="1615827"/>
          </a:xfrm>
          <a:prstGeom prst="rect">
            <a:avLst/>
          </a:prstGeom>
          <a:noFill/>
        </p:spPr>
        <p:txBody>
          <a:bodyPr wrap="square" rtlCol="0">
            <a:spAutoFit/>
          </a:bodyPr>
          <a:lstStyle/>
          <a:p>
            <a:pPr algn="just"/>
            <a:endParaRPr lang="en-GB" sz="2500" dirty="0">
              <a:solidFill>
                <a:srgbClr val="C00000"/>
              </a:solidFill>
              <a:latin typeface="Montserrat" pitchFamily="2" charset="77"/>
            </a:endParaRPr>
          </a:p>
          <a:p>
            <a:pPr algn="just"/>
            <a:r>
              <a:rPr lang="en-GB" sz="2800" dirty="0">
                <a:solidFill>
                  <a:srgbClr val="272626"/>
                </a:solidFill>
                <a:latin typeface="+mj-lt"/>
                <a:ea typeface="+mj-ea"/>
                <a:cs typeface="+mj-cs"/>
              </a:rPr>
              <a:t>Keysight’s Eggplant products enable end-to-end test automation to help </a:t>
            </a:r>
            <a:r>
              <a:rPr lang="en-GB" sz="2800" dirty="0" err="1">
                <a:solidFill>
                  <a:srgbClr val="272626"/>
                </a:solidFill>
                <a:latin typeface="+mj-lt"/>
                <a:ea typeface="+mj-ea"/>
                <a:cs typeface="+mj-cs"/>
              </a:rPr>
              <a:t>defense</a:t>
            </a:r>
            <a:r>
              <a:rPr lang="en-GB" sz="2800" dirty="0">
                <a:solidFill>
                  <a:srgbClr val="272626"/>
                </a:solidFill>
                <a:latin typeface="+mj-lt"/>
                <a:ea typeface="+mj-ea"/>
                <a:cs typeface="+mj-cs"/>
              </a:rPr>
              <a:t> and aerospace institutions </a:t>
            </a:r>
            <a:r>
              <a:rPr lang="en-US" sz="2800" dirty="0">
                <a:solidFill>
                  <a:srgbClr val="272626"/>
                </a:solidFill>
                <a:latin typeface="+mj-lt"/>
                <a:ea typeface="+mj-ea"/>
                <a:cs typeface="+mj-cs"/>
              </a:rPr>
              <a:t>automate all ground control, command systems and cockpit interfaces to ensure system level testing for functionality, performance and usability.​</a:t>
            </a:r>
            <a:endParaRPr lang="en-GB" sz="2800" dirty="0">
              <a:solidFill>
                <a:srgbClr val="272626"/>
              </a:solidFill>
              <a:latin typeface="+mj-lt"/>
              <a:ea typeface="+mj-ea"/>
              <a:cs typeface="+mj-cs"/>
            </a:endParaRPr>
          </a:p>
        </p:txBody>
      </p:sp>
    </p:spTree>
    <p:extLst>
      <p:ext uri="{BB962C8B-B14F-4D97-AF65-F5344CB8AC3E}">
        <p14:creationId xmlns:p14="http://schemas.microsoft.com/office/powerpoint/2010/main" val="2080136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1648ECE-4105-4087-8D9F-181709E8CA03}"/>
              </a:ext>
            </a:extLst>
          </p:cNvPr>
          <p:cNvSpPr>
            <a:spLocks noGrp="1"/>
          </p:cNvSpPr>
          <p:nvPr>
            <p:ph type="title"/>
          </p:nvPr>
        </p:nvSpPr>
        <p:spPr>
          <a:xfrm>
            <a:off x="449202" y="372339"/>
            <a:ext cx="11473892" cy="492443"/>
          </a:xfrm>
        </p:spPr>
        <p:txBody>
          <a:bodyPr/>
          <a:lstStyle/>
          <a:p>
            <a:r>
              <a:rPr lang="en-US" dirty="0"/>
              <a:t>Keysight’s Eggplant suite is the automation standard for defense and aerospace and used by organizations globally​</a:t>
            </a:r>
            <a:r>
              <a:rPr lang="en-GB" dirty="0">
                <a:solidFill>
                  <a:srgbClr val="524F56"/>
                </a:solidFill>
              </a:rPr>
              <a:t>.</a:t>
            </a:r>
            <a:endParaRPr lang="en-US" dirty="0">
              <a:solidFill>
                <a:srgbClr val="524F56"/>
              </a:solidFill>
            </a:endParaRPr>
          </a:p>
        </p:txBody>
      </p:sp>
      <p:pic>
        <p:nvPicPr>
          <p:cNvPr id="20" name="Picture 19">
            <a:extLst>
              <a:ext uri="{FF2B5EF4-FFF2-40B4-BE49-F238E27FC236}">
                <a16:creationId xmlns:a16="http://schemas.microsoft.com/office/drawing/2014/main" id="{9E283B62-2589-1641-9CD1-25B052740AD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573283" y="4897224"/>
            <a:ext cx="1433803" cy="1158513"/>
          </a:xfrm>
          <a:prstGeom prst="rect">
            <a:avLst/>
          </a:prstGeom>
        </p:spPr>
      </p:pic>
      <p:pic>
        <p:nvPicPr>
          <p:cNvPr id="22" name="Picture 21">
            <a:extLst>
              <a:ext uri="{FF2B5EF4-FFF2-40B4-BE49-F238E27FC236}">
                <a16:creationId xmlns:a16="http://schemas.microsoft.com/office/drawing/2014/main" id="{8EC7AC0D-D959-FA4A-9E2B-63151F1153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531392" y="3103926"/>
            <a:ext cx="2391702" cy="1345333"/>
          </a:xfrm>
          <a:prstGeom prst="rect">
            <a:avLst/>
          </a:prstGeom>
        </p:spPr>
      </p:pic>
      <p:pic>
        <p:nvPicPr>
          <p:cNvPr id="23" name="Picture 22">
            <a:extLst>
              <a:ext uri="{FF2B5EF4-FFF2-40B4-BE49-F238E27FC236}">
                <a16:creationId xmlns:a16="http://schemas.microsoft.com/office/drawing/2014/main" id="{2CA28BE7-9EB0-7644-8787-903919F6960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317791" y="2353535"/>
            <a:ext cx="1958178" cy="292367"/>
          </a:xfrm>
          <a:prstGeom prst="rect">
            <a:avLst/>
          </a:prstGeom>
        </p:spPr>
      </p:pic>
      <p:pic>
        <p:nvPicPr>
          <p:cNvPr id="24" name="Picture 23">
            <a:extLst>
              <a:ext uri="{FF2B5EF4-FFF2-40B4-BE49-F238E27FC236}">
                <a16:creationId xmlns:a16="http://schemas.microsoft.com/office/drawing/2014/main" id="{F7E5FBA4-2479-504E-B11A-BEB4FA369AF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73279" y="4542507"/>
            <a:ext cx="3702121" cy="277659"/>
          </a:xfrm>
          <a:prstGeom prst="rect">
            <a:avLst/>
          </a:prstGeom>
        </p:spPr>
      </p:pic>
      <p:pic>
        <p:nvPicPr>
          <p:cNvPr id="25" name="Picture 24">
            <a:extLst>
              <a:ext uri="{FF2B5EF4-FFF2-40B4-BE49-F238E27FC236}">
                <a16:creationId xmlns:a16="http://schemas.microsoft.com/office/drawing/2014/main" id="{D938F2CA-2CA0-EC4F-9E7C-9BB7816F9769}"/>
              </a:ext>
            </a:extLst>
          </p:cNvPr>
          <p:cNvPicPr>
            <a:picLocks noChangeAspect="1"/>
          </p:cNvPicPr>
          <p:nvPr/>
        </p:nvPicPr>
        <p:blipFill>
          <a:blip r:embed="rId6"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3312818" y="3467555"/>
            <a:ext cx="1747858" cy="430810"/>
          </a:xfrm>
          <a:prstGeom prst="rect">
            <a:avLst/>
          </a:prstGeom>
        </p:spPr>
      </p:pic>
      <p:pic>
        <p:nvPicPr>
          <p:cNvPr id="26" name="Picture 25">
            <a:extLst>
              <a:ext uri="{FF2B5EF4-FFF2-40B4-BE49-F238E27FC236}">
                <a16:creationId xmlns:a16="http://schemas.microsoft.com/office/drawing/2014/main" id="{4B032D54-D471-6D48-8B96-7847F6F047EC}"/>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92558" y="4215302"/>
            <a:ext cx="1089438" cy="653663"/>
          </a:xfrm>
          <a:prstGeom prst="rect">
            <a:avLst/>
          </a:prstGeom>
        </p:spPr>
      </p:pic>
      <p:pic>
        <p:nvPicPr>
          <p:cNvPr id="27" name="Picture 26">
            <a:extLst>
              <a:ext uri="{FF2B5EF4-FFF2-40B4-BE49-F238E27FC236}">
                <a16:creationId xmlns:a16="http://schemas.microsoft.com/office/drawing/2014/main" id="{7C545958-F2B0-7541-96F8-F8FC816C057F}"/>
              </a:ext>
            </a:extLst>
          </p:cNvPr>
          <p:cNvPicPr>
            <a:picLocks noChangeAspect="1"/>
          </p:cNvPicPr>
          <p:nvPr/>
        </p:nvPicPr>
        <p:blipFill>
          <a:blip r:embed="rId8"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522168" y="4903047"/>
            <a:ext cx="1015726" cy="1304192"/>
          </a:xfrm>
          <a:prstGeom prst="rect">
            <a:avLst/>
          </a:prstGeom>
        </p:spPr>
      </p:pic>
      <p:pic>
        <p:nvPicPr>
          <p:cNvPr id="28" name="Picture 27">
            <a:extLst>
              <a:ext uri="{FF2B5EF4-FFF2-40B4-BE49-F238E27FC236}">
                <a16:creationId xmlns:a16="http://schemas.microsoft.com/office/drawing/2014/main" id="{783C25EC-602F-A24E-AE4A-A2821D259BB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491632" y="3382033"/>
            <a:ext cx="1089438" cy="1089438"/>
          </a:xfrm>
          <a:prstGeom prst="rect">
            <a:avLst/>
          </a:prstGeom>
        </p:spPr>
      </p:pic>
      <p:pic>
        <p:nvPicPr>
          <p:cNvPr id="29" name="Picture 28">
            <a:extLst>
              <a:ext uri="{FF2B5EF4-FFF2-40B4-BE49-F238E27FC236}">
                <a16:creationId xmlns:a16="http://schemas.microsoft.com/office/drawing/2014/main" id="{321DF93F-3F39-2E42-A140-E6FFA9D10E44}"/>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02543" y="2092915"/>
            <a:ext cx="1254820" cy="1037315"/>
          </a:xfrm>
          <a:prstGeom prst="rect">
            <a:avLst/>
          </a:prstGeom>
        </p:spPr>
      </p:pic>
      <p:pic>
        <p:nvPicPr>
          <p:cNvPr id="30" name="Picture 29">
            <a:extLst>
              <a:ext uri="{FF2B5EF4-FFF2-40B4-BE49-F238E27FC236}">
                <a16:creationId xmlns:a16="http://schemas.microsoft.com/office/drawing/2014/main" id="{B6265813-E5AD-D242-A650-08DC2D182D03}"/>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2493288" y="1946549"/>
            <a:ext cx="1308372" cy="1316600"/>
          </a:xfrm>
          <a:prstGeom prst="rect">
            <a:avLst/>
          </a:prstGeom>
        </p:spPr>
      </p:pic>
      <p:pic>
        <p:nvPicPr>
          <p:cNvPr id="31" name="Picture 30">
            <a:extLst>
              <a:ext uri="{FF2B5EF4-FFF2-40B4-BE49-F238E27FC236}">
                <a16:creationId xmlns:a16="http://schemas.microsoft.com/office/drawing/2014/main" id="{3D266058-0212-594E-BA27-CB544BB5584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67520" y="2118726"/>
            <a:ext cx="744539" cy="995941"/>
          </a:xfrm>
          <a:prstGeom prst="rect">
            <a:avLst/>
          </a:prstGeom>
        </p:spPr>
      </p:pic>
      <p:pic>
        <p:nvPicPr>
          <p:cNvPr id="32" name="Picture 31">
            <a:extLst>
              <a:ext uri="{FF2B5EF4-FFF2-40B4-BE49-F238E27FC236}">
                <a16:creationId xmlns:a16="http://schemas.microsoft.com/office/drawing/2014/main" id="{8E519E2C-40DB-0849-9BA7-DF18E412897E}"/>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960023" y="5094842"/>
            <a:ext cx="977029" cy="977029"/>
          </a:xfrm>
          <a:prstGeom prst="rect">
            <a:avLst/>
          </a:prstGeom>
        </p:spPr>
      </p:pic>
      <p:pic>
        <p:nvPicPr>
          <p:cNvPr id="33" name="Picture 32">
            <a:extLst>
              <a:ext uri="{FF2B5EF4-FFF2-40B4-BE49-F238E27FC236}">
                <a16:creationId xmlns:a16="http://schemas.microsoft.com/office/drawing/2014/main" id="{61A53847-9E8C-7342-9299-6CAE33710768}"/>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642334" y="2036234"/>
            <a:ext cx="1369852" cy="1150676"/>
          </a:xfrm>
          <a:prstGeom prst="rect">
            <a:avLst/>
          </a:prstGeom>
        </p:spPr>
      </p:pic>
      <p:pic>
        <p:nvPicPr>
          <p:cNvPr id="34" name="Picture 33">
            <a:extLst>
              <a:ext uri="{FF2B5EF4-FFF2-40B4-BE49-F238E27FC236}">
                <a16:creationId xmlns:a16="http://schemas.microsoft.com/office/drawing/2014/main" id="{3BDD41DC-9958-C044-A63C-D840232CB881}"/>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43952" y="4946002"/>
            <a:ext cx="1186953" cy="1186953"/>
          </a:xfrm>
          <a:prstGeom prst="rect">
            <a:avLst/>
          </a:prstGeom>
        </p:spPr>
      </p:pic>
      <p:pic>
        <p:nvPicPr>
          <p:cNvPr id="35" name="Picture 34">
            <a:extLst>
              <a:ext uri="{FF2B5EF4-FFF2-40B4-BE49-F238E27FC236}">
                <a16:creationId xmlns:a16="http://schemas.microsoft.com/office/drawing/2014/main" id="{F376A2C1-7727-0047-A069-63A8045680B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2516021" y="5314414"/>
            <a:ext cx="1563050" cy="498422"/>
          </a:xfrm>
          <a:prstGeom prst="rect">
            <a:avLst/>
          </a:prstGeom>
        </p:spPr>
      </p:pic>
      <p:pic>
        <p:nvPicPr>
          <p:cNvPr id="36" name="Picture 35">
            <a:extLst>
              <a:ext uri="{FF2B5EF4-FFF2-40B4-BE49-F238E27FC236}">
                <a16:creationId xmlns:a16="http://schemas.microsoft.com/office/drawing/2014/main" id="{1BC9AB6B-030A-ED40-A544-AC00962B0C17}"/>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6512410" y="5535166"/>
            <a:ext cx="1729242" cy="210968"/>
          </a:xfrm>
          <a:prstGeom prst="rect">
            <a:avLst/>
          </a:prstGeom>
        </p:spPr>
      </p:pic>
      <p:pic>
        <p:nvPicPr>
          <p:cNvPr id="37" name="Picture 36">
            <a:extLst>
              <a:ext uri="{FF2B5EF4-FFF2-40B4-BE49-F238E27FC236}">
                <a16:creationId xmlns:a16="http://schemas.microsoft.com/office/drawing/2014/main" id="{4D68C5D5-D573-9A44-AA09-E939FCAE3518}"/>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7416003" y="2877938"/>
            <a:ext cx="1702189" cy="473457"/>
          </a:xfrm>
          <a:prstGeom prst="rect">
            <a:avLst/>
          </a:prstGeom>
        </p:spPr>
      </p:pic>
      <p:pic>
        <p:nvPicPr>
          <p:cNvPr id="38" name="Picture 37">
            <a:extLst>
              <a:ext uri="{FF2B5EF4-FFF2-40B4-BE49-F238E27FC236}">
                <a16:creationId xmlns:a16="http://schemas.microsoft.com/office/drawing/2014/main" id="{DE4D2B27-1719-8B4C-BD5E-F234603B0BA8}"/>
              </a:ext>
            </a:extLst>
          </p:cNvPr>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5581820" y="4427672"/>
            <a:ext cx="2009794" cy="528177"/>
          </a:xfrm>
          <a:prstGeom prst="rect">
            <a:avLst/>
          </a:prstGeom>
        </p:spPr>
      </p:pic>
      <p:pic>
        <p:nvPicPr>
          <p:cNvPr id="39" name="Picture 38">
            <a:extLst>
              <a:ext uri="{FF2B5EF4-FFF2-40B4-BE49-F238E27FC236}">
                <a16:creationId xmlns:a16="http://schemas.microsoft.com/office/drawing/2014/main" id="{64ECC04F-9466-2649-91DD-C9BE58062F28}"/>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7012186" y="3614227"/>
            <a:ext cx="1647173" cy="289904"/>
          </a:xfrm>
          <a:prstGeom prst="rect">
            <a:avLst/>
          </a:prstGeom>
        </p:spPr>
      </p:pic>
      <p:pic>
        <p:nvPicPr>
          <p:cNvPr id="40" name="Picture 39">
            <a:extLst>
              <a:ext uri="{FF2B5EF4-FFF2-40B4-BE49-F238E27FC236}">
                <a16:creationId xmlns:a16="http://schemas.microsoft.com/office/drawing/2014/main" id="{11309F19-D592-E742-9DF3-F825865DC97D}"/>
              </a:ext>
            </a:extLst>
          </p:cNvPr>
          <p:cNvPicPr>
            <a:picLocks noChangeAspect="1"/>
          </p:cNvPicPr>
          <p:nvPr/>
        </p:nvPicPr>
        <p:blipFill>
          <a:blip r:embed="rId21"/>
          <a:stretch>
            <a:fillRect/>
          </a:stretch>
        </p:blipFill>
        <p:spPr>
          <a:xfrm>
            <a:off x="361652" y="3952490"/>
            <a:ext cx="2425700" cy="838200"/>
          </a:xfrm>
          <a:prstGeom prst="rect">
            <a:avLst/>
          </a:prstGeom>
        </p:spPr>
      </p:pic>
      <p:pic>
        <p:nvPicPr>
          <p:cNvPr id="41" name="Picture 40">
            <a:extLst>
              <a:ext uri="{FF2B5EF4-FFF2-40B4-BE49-F238E27FC236}">
                <a16:creationId xmlns:a16="http://schemas.microsoft.com/office/drawing/2014/main" id="{7290135E-F550-5C4E-8ED8-10F2B446A3B1}"/>
              </a:ext>
            </a:extLst>
          </p:cNvPr>
          <p:cNvPicPr>
            <a:picLocks noChangeAspect="1"/>
          </p:cNvPicPr>
          <p:nvPr/>
        </p:nvPicPr>
        <p:blipFill>
          <a:blip r:embed="rId22"/>
          <a:stretch>
            <a:fillRect/>
          </a:stretch>
        </p:blipFill>
        <p:spPr>
          <a:xfrm>
            <a:off x="532021" y="3196900"/>
            <a:ext cx="2438400" cy="825500"/>
          </a:xfrm>
          <a:prstGeom prst="rect">
            <a:avLst/>
          </a:prstGeom>
        </p:spPr>
      </p:pic>
      <p:pic>
        <p:nvPicPr>
          <p:cNvPr id="42" name="Picture 41">
            <a:extLst>
              <a:ext uri="{FF2B5EF4-FFF2-40B4-BE49-F238E27FC236}">
                <a16:creationId xmlns:a16="http://schemas.microsoft.com/office/drawing/2014/main" id="{129365F8-4423-1340-BB73-DA8790991B3C}"/>
              </a:ext>
            </a:extLst>
          </p:cNvPr>
          <p:cNvPicPr>
            <a:picLocks noChangeAspect="1"/>
          </p:cNvPicPr>
          <p:nvPr/>
        </p:nvPicPr>
        <p:blipFill>
          <a:blip r:embed="rId23"/>
          <a:stretch>
            <a:fillRect/>
          </a:stretch>
        </p:blipFill>
        <p:spPr>
          <a:xfrm>
            <a:off x="9766512" y="1875756"/>
            <a:ext cx="1371600" cy="1371600"/>
          </a:xfrm>
          <a:prstGeom prst="rect">
            <a:avLst/>
          </a:prstGeom>
        </p:spPr>
      </p:pic>
      <p:sp>
        <p:nvSpPr>
          <p:cNvPr id="43" name="TextBox 42">
            <a:extLst>
              <a:ext uri="{FF2B5EF4-FFF2-40B4-BE49-F238E27FC236}">
                <a16:creationId xmlns:a16="http://schemas.microsoft.com/office/drawing/2014/main" id="{AD5339C5-D3A3-C344-ACB7-0C01EAD28B9C}"/>
              </a:ext>
            </a:extLst>
          </p:cNvPr>
          <p:cNvSpPr txBox="1"/>
          <p:nvPr/>
        </p:nvSpPr>
        <p:spPr>
          <a:xfrm>
            <a:off x="4642330" y="6254202"/>
            <a:ext cx="2675461" cy="459768"/>
          </a:xfrm>
          <a:prstGeom prst="rect">
            <a:avLst/>
          </a:prstGeom>
          <a:noFill/>
        </p:spPr>
        <p:txBody>
          <a:bodyPr wrap="square" rtlCol="0">
            <a:noAutofit/>
          </a:bodyPr>
          <a:lstStyle/>
          <a:p>
            <a:pPr algn="ctr" defTabSz="617204">
              <a:defRPr/>
            </a:pPr>
            <a:r>
              <a:rPr lang="en-US" sz="2000" b="1" dirty="0">
                <a:solidFill>
                  <a:srgbClr val="524F56"/>
                </a:solidFill>
                <a:latin typeface="Calibri"/>
              </a:rPr>
              <a:t>600+ Customers</a:t>
            </a:r>
          </a:p>
        </p:txBody>
      </p:sp>
    </p:spTree>
    <p:extLst>
      <p:ext uri="{BB962C8B-B14F-4D97-AF65-F5344CB8AC3E}">
        <p14:creationId xmlns:p14="http://schemas.microsoft.com/office/powerpoint/2010/main" val="292770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F4D5D8D5-D908-4B33-8935-0B86B0C36E4E}"/>
              </a:ext>
            </a:extLst>
          </p:cNvPr>
          <p:cNvSpPr>
            <a:spLocks noGrp="1"/>
          </p:cNvSpPr>
          <p:nvPr>
            <p:ph sz="quarter" idx="14"/>
          </p:nvPr>
        </p:nvSpPr>
        <p:spPr>
          <a:xfrm>
            <a:off x="449579" y="1410972"/>
            <a:ext cx="11293220" cy="4298774"/>
          </a:xfrm>
        </p:spPr>
        <p:txBody>
          <a:bodyPr/>
          <a:lstStyle/>
          <a:p>
            <a:pPr marL="0" indent="0" algn="just">
              <a:buNone/>
            </a:pPr>
            <a:r>
              <a:rPr lang="en-GB" dirty="0">
                <a:solidFill>
                  <a:srgbClr val="524F56"/>
                </a:solidFill>
                <a:latin typeface="Arial" panose="020B0604020202020204" pitchFamily="34" charset="0"/>
                <a:cs typeface="Arial" panose="020B0604020202020204" pitchFamily="34" charset="0"/>
              </a:rPr>
              <a:t>Given the mission critical nature of technology in the </a:t>
            </a:r>
            <a:r>
              <a:rPr lang="en-GB" dirty="0" err="1">
                <a:solidFill>
                  <a:srgbClr val="524F56"/>
                </a:solidFill>
                <a:latin typeface="Arial" panose="020B0604020202020204" pitchFamily="34" charset="0"/>
                <a:cs typeface="Arial" panose="020B0604020202020204" pitchFamily="34" charset="0"/>
              </a:rPr>
              <a:t>defense</a:t>
            </a:r>
            <a:r>
              <a:rPr lang="en-GB" dirty="0">
                <a:solidFill>
                  <a:srgbClr val="524F56"/>
                </a:solidFill>
                <a:latin typeface="Arial" panose="020B0604020202020204" pitchFamily="34" charset="0"/>
                <a:cs typeface="Arial" panose="020B0604020202020204" pitchFamily="34" charset="0"/>
              </a:rPr>
              <a:t> and aerospace sector, the ability to quickly deploy and scale AI-driven automation is essential. There is a lot on the line when it comes to software testing in the industry. Privacy and security are of paramount importance during the testing process. Penetrating the application or accessing source code could potentially result in exposing classified information.</a:t>
            </a:r>
          </a:p>
          <a:p>
            <a:pPr marL="0" indent="0" algn="just">
              <a:buNone/>
            </a:pPr>
            <a:r>
              <a:rPr lang="en-GB" dirty="0">
                <a:solidFill>
                  <a:srgbClr val="524F56"/>
                </a:solidFill>
                <a:latin typeface="Arial" panose="020B0604020202020204" pitchFamily="34" charset="0"/>
                <a:cs typeface="Arial" panose="020B0604020202020204" pitchFamily="34" charset="0"/>
              </a:rPr>
              <a:t>The increased range of weaponry and systems spread across the physical and cyber battlegrounds calls for greater amounts of information to be available to our war fighters and military leaders. This pushes command and control to its limits. </a:t>
            </a:r>
            <a:r>
              <a:rPr lang="en-GB" dirty="0">
                <a:latin typeface="Arial" panose="020B0604020202020204" pitchFamily="34" charset="0"/>
                <a:cs typeface="Arial" panose="020B0604020202020204" pitchFamily="34" charset="0"/>
              </a:rPr>
              <a:t>  </a:t>
            </a:r>
          </a:p>
          <a:p>
            <a:pPr marL="0" indent="0" algn="just">
              <a:buNone/>
            </a:pPr>
            <a:r>
              <a:rPr lang="en-GB" dirty="0">
                <a:solidFill>
                  <a:srgbClr val="524F56"/>
                </a:solidFill>
                <a:latin typeface="Arial" panose="020B0604020202020204" pitchFamily="34" charset="0"/>
                <a:cs typeface="Arial" panose="020B0604020202020204" pitchFamily="34" charset="0"/>
              </a:rPr>
              <a:t>So why revolutionize your testing </a:t>
            </a:r>
            <a:r>
              <a:rPr lang="en-GB" dirty="0">
                <a:solidFill>
                  <a:srgbClr val="C00000"/>
                </a:solidFill>
                <a:latin typeface="Arial" panose="020B0604020202020204" pitchFamily="34" charset="0"/>
                <a:cs typeface="Arial" panose="020B0604020202020204" pitchFamily="34" charset="0"/>
              </a:rPr>
              <a:t>now</a:t>
            </a:r>
            <a:r>
              <a:rPr lang="en-GB" dirty="0">
                <a:solidFill>
                  <a:srgbClr val="524F56"/>
                </a:solidFill>
                <a:latin typeface="Arial" panose="020B0604020202020204" pitchFamily="34" charset="0"/>
                <a:cs typeface="Arial" panose="020B0604020202020204" pitchFamily="34" charset="0"/>
              </a:rPr>
              <a:t>? Because while the human war fighters serving alongside various systems will continue to make the life-or-death decisions in the battlefield, intelligent test automation guarantees they can make strategic decisions based on the most accurate information available through command and control systems. Where safety and security are considered, there is no better time than now to invest in their reliability.</a:t>
            </a:r>
          </a:p>
        </p:txBody>
      </p:sp>
      <p:sp>
        <p:nvSpPr>
          <p:cNvPr id="8" name="Title 7">
            <a:extLst>
              <a:ext uri="{FF2B5EF4-FFF2-40B4-BE49-F238E27FC236}">
                <a16:creationId xmlns:a16="http://schemas.microsoft.com/office/drawing/2014/main" id="{4DE28A4D-B796-49F6-AA61-83D619268EA7}"/>
              </a:ext>
            </a:extLst>
          </p:cNvPr>
          <p:cNvSpPr>
            <a:spLocks noGrp="1"/>
          </p:cNvSpPr>
          <p:nvPr>
            <p:ph type="title"/>
          </p:nvPr>
        </p:nvSpPr>
        <p:spPr/>
        <p:txBody>
          <a:bodyPr/>
          <a:lstStyle/>
          <a:p>
            <a:r>
              <a:rPr lang="en-US" dirty="0"/>
              <a:t>Why now?</a:t>
            </a:r>
          </a:p>
        </p:txBody>
      </p:sp>
    </p:spTree>
    <p:extLst>
      <p:ext uri="{BB962C8B-B14F-4D97-AF65-F5344CB8AC3E}">
        <p14:creationId xmlns:p14="http://schemas.microsoft.com/office/powerpoint/2010/main" val="3657630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6" name="Text Placeholder 5">
            <a:extLst>
              <a:ext uri="{FF2B5EF4-FFF2-40B4-BE49-F238E27FC236}">
                <a16:creationId xmlns:a16="http://schemas.microsoft.com/office/drawing/2014/main" id="{FF9AAA09-B2F7-45DB-8586-14456D3B24BE}"/>
              </a:ext>
            </a:extLst>
          </p:cNvPr>
          <p:cNvSpPr>
            <a:spLocks noGrp="1"/>
          </p:cNvSpPr>
          <p:nvPr>
            <p:ph type="body" sz="quarter" idx="13"/>
          </p:nvPr>
        </p:nvSpPr>
        <p:spPr/>
        <p:txBody>
          <a:bodyPr/>
          <a:lstStyle/>
          <a:p>
            <a:r>
              <a:rPr lang="en-US" dirty="0"/>
              <a:t>target AUDIENCE</a:t>
            </a:r>
          </a:p>
        </p:txBody>
      </p:sp>
      <p:grpSp>
        <p:nvGrpSpPr>
          <p:cNvPr id="164" name="Group 163">
            <a:extLst>
              <a:ext uri="{FF2B5EF4-FFF2-40B4-BE49-F238E27FC236}">
                <a16:creationId xmlns:a16="http://schemas.microsoft.com/office/drawing/2014/main" id="{BFD79738-D6D2-4B19-8CD8-3ECB85AE49DF}"/>
              </a:ext>
            </a:extLst>
          </p:cNvPr>
          <p:cNvGrpSpPr/>
          <p:nvPr/>
        </p:nvGrpSpPr>
        <p:grpSpPr>
          <a:xfrm>
            <a:off x="2143587" y="2465966"/>
            <a:ext cx="3084090" cy="3123808"/>
            <a:chOff x="611670" y="2487911"/>
            <a:chExt cx="3084090" cy="3065868"/>
          </a:xfrm>
        </p:grpSpPr>
        <p:sp>
          <p:nvSpPr>
            <p:cNvPr id="77" name="Rectangle 76">
              <a:extLst>
                <a:ext uri="{FF2B5EF4-FFF2-40B4-BE49-F238E27FC236}">
                  <a16:creationId xmlns:a16="http://schemas.microsoft.com/office/drawing/2014/main" id="{D5B1AC6E-46A4-44D3-9987-5ED66C72507E}"/>
                </a:ext>
              </a:extLst>
            </p:cNvPr>
            <p:cNvSpPr/>
            <p:nvPr/>
          </p:nvSpPr>
          <p:spPr>
            <a:xfrm>
              <a:off x="1226441" y="2487911"/>
              <a:ext cx="2469319" cy="2767057"/>
            </a:xfrm>
            <a:prstGeom prst="rect">
              <a:avLst/>
            </a:prstGeom>
            <a:solidFill>
              <a:schemeClr val="bg1">
                <a:alpha val="65000"/>
              </a:schemeClr>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solidFill>
                  <a:schemeClr val="lt1"/>
                </a:solidFill>
              </a:endParaRPr>
            </a:p>
          </p:txBody>
        </p:sp>
        <p:sp>
          <p:nvSpPr>
            <p:cNvPr id="78" name="TextBox 77">
              <a:extLst>
                <a:ext uri="{FF2B5EF4-FFF2-40B4-BE49-F238E27FC236}">
                  <a16:creationId xmlns:a16="http://schemas.microsoft.com/office/drawing/2014/main" id="{2C942274-559E-4A8B-9F00-140875A03E4A}"/>
                </a:ext>
              </a:extLst>
            </p:cNvPr>
            <p:cNvSpPr txBox="1"/>
            <p:nvPr/>
          </p:nvSpPr>
          <p:spPr>
            <a:xfrm>
              <a:off x="1405826" y="4182179"/>
              <a:ext cx="2103120" cy="1371600"/>
            </a:xfrm>
            <a:prstGeom prst="rect">
              <a:avLst/>
            </a:prstGeom>
            <a:noFill/>
          </p:spPr>
          <p:txBody>
            <a:bodyPr wrap="square" lIns="0" tIns="0" rIns="0" bIns="0" rtlCol="0">
              <a:noAutofit/>
            </a:bodyPr>
            <a:lstStyle/>
            <a:p>
              <a:pPr>
                <a:defRPr/>
              </a:pPr>
              <a:r>
                <a:rPr lang="en-US" sz="1600" dirty="0">
                  <a:solidFill>
                    <a:schemeClr val="tx1">
                      <a:lumMod val="85000"/>
                      <a:lumOff val="15000"/>
                    </a:schemeClr>
                  </a:solidFill>
                </a:rPr>
                <a:t>CIOs &amp; Program Officers</a:t>
              </a:r>
            </a:p>
          </p:txBody>
        </p:sp>
        <p:cxnSp>
          <p:nvCxnSpPr>
            <p:cNvPr id="80" name="Straight Connector 79">
              <a:extLst>
                <a:ext uri="{FF2B5EF4-FFF2-40B4-BE49-F238E27FC236}">
                  <a16:creationId xmlns:a16="http://schemas.microsoft.com/office/drawing/2014/main" id="{3C16D58A-653B-4D6B-AA36-3416B1B1576A}"/>
                </a:ext>
              </a:extLst>
            </p:cNvPr>
            <p:cNvCxnSpPr/>
            <p:nvPr/>
          </p:nvCxnSpPr>
          <p:spPr>
            <a:xfrm>
              <a:off x="1405826" y="3917460"/>
              <a:ext cx="210312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6858255F-6786-40D3-A886-17AC84B7538D}"/>
                </a:ext>
              </a:extLst>
            </p:cNvPr>
            <p:cNvSpPr txBox="1"/>
            <p:nvPr/>
          </p:nvSpPr>
          <p:spPr>
            <a:xfrm>
              <a:off x="1405826" y="2520834"/>
              <a:ext cx="2103119" cy="1350606"/>
            </a:xfrm>
            <a:prstGeom prst="rect">
              <a:avLst/>
            </a:prstGeom>
            <a:noFill/>
          </p:spPr>
          <p:txBody>
            <a:bodyPr wrap="square" lIns="0" tIns="0" rIns="0" bIns="0" rtlCol="0" anchor="ctr">
              <a:noAutofit/>
            </a:bodyPr>
            <a:lstStyle/>
            <a:p>
              <a:pPr marL="0" lvl="5" defTabSz="914400">
                <a:lnSpc>
                  <a:spcPct val="90000"/>
                </a:lnSpc>
                <a:spcBef>
                  <a:spcPts val="600"/>
                </a:spcBef>
                <a:spcAft>
                  <a:spcPts val="600"/>
                </a:spcAft>
                <a:buFont typeface="Arial" panose="020B0604020202020204" pitchFamily="34" charset="0"/>
                <a:buChar char="​"/>
              </a:pPr>
              <a:r>
                <a:rPr lang="en-US" sz="2600" b="1" cap="all" spc="60" dirty="0">
                  <a:solidFill>
                    <a:schemeClr val="accent1"/>
                  </a:solidFill>
                </a:rPr>
                <a:t>BUSINESS DECISION MAKERS</a:t>
              </a:r>
            </a:p>
          </p:txBody>
        </p:sp>
        <p:sp>
          <p:nvSpPr>
            <p:cNvPr id="161" name="Freeform 5">
              <a:extLst>
                <a:ext uri="{FF2B5EF4-FFF2-40B4-BE49-F238E27FC236}">
                  <a16:creationId xmlns:a16="http://schemas.microsoft.com/office/drawing/2014/main" id="{F0302D9A-6A70-4F3D-96F7-F0C6D18E68D5}"/>
                </a:ext>
              </a:extLst>
            </p:cNvPr>
            <p:cNvSpPr>
              <a:spLocks noChangeAspect="1" noEditPoints="1"/>
            </p:cNvSpPr>
            <p:nvPr/>
          </p:nvSpPr>
          <p:spPr bwMode="auto">
            <a:xfrm>
              <a:off x="611670" y="2556491"/>
              <a:ext cx="452302" cy="640080"/>
            </a:xfrm>
            <a:custGeom>
              <a:avLst/>
              <a:gdLst>
                <a:gd name="T0" fmla="*/ 399 w 797"/>
                <a:gd name="T1" fmla="*/ 210 h 1125"/>
                <a:gd name="T2" fmla="*/ 481 w 797"/>
                <a:gd name="T3" fmla="*/ 294 h 1125"/>
                <a:gd name="T4" fmla="*/ 444 w 797"/>
                <a:gd name="T5" fmla="*/ 370 h 1125"/>
                <a:gd name="T6" fmla="*/ 444 w 797"/>
                <a:gd name="T7" fmla="*/ 370 h 1125"/>
                <a:gd name="T8" fmla="*/ 421 w 797"/>
                <a:gd name="T9" fmla="*/ 378 h 1125"/>
                <a:gd name="T10" fmla="*/ 421 w 797"/>
                <a:gd name="T11" fmla="*/ 378 h 1125"/>
                <a:gd name="T12" fmla="*/ 376 w 797"/>
                <a:gd name="T13" fmla="*/ 378 h 1125"/>
                <a:gd name="T14" fmla="*/ 372 w 797"/>
                <a:gd name="T15" fmla="*/ 378 h 1125"/>
                <a:gd name="T16" fmla="*/ 353 w 797"/>
                <a:gd name="T17" fmla="*/ 370 h 1125"/>
                <a:gd name="T18" fmla="*/ 353 w 797"/>
                <a:gd name="T19" fmla="*/ 370 h 1125"/>
                <a:gd name="T20" fmla="*/ 312 w 797"/>
                <a:gd name="T21" fmla="*/ 294 h 1125"/>
                <a:gd name="T22" fmla="*/ 399 w 797"/>
                <a:gd name="T23" fmla="*/ 210 h 1125"/>
                <a:gd name="T24" fmla="*/ 786 w 797"/>
                <a:gd name="T25" fmla="*/ 626 h 1125"/>
                <a:gd name="T26" fmla="*/ 756 w 797"/>
                <a:gd name="T27" fmla="*/ 626 h 1125"/>
                <a:gd name="T28" fmla="*/ 628 w 797"/>
                <a:gd name="T29" fmla="*/ 729 h 1125"/>
                <a:gd name="T30" fmla="*/ 478 w 797"/>
                <a:gd name="T31" fmla="*/ 393 h 1125"/>
                <a:gd name="T32" fmla="*/ 523 w 797"/>
                <a:gd name="T33" fmla="*/ 294 h 1125"/>
                <a:gd name="T34" fmla="*/ 417 w 797"/>
                <a:gd name="T35" fmla="*/ 168 h 1125"/>
                <a:gd name="T36" fmla="*/ 417 w 797"/>
                <a:gd name="T37" fmla="*/ 19 h 1125"/>
                <a:gd name="T38" fmla="*/ 399 w 797"/>
                <a:gd name="T39" fmla="*/ 0 h 1125"/>
                <a:gd name="T40" fmla="*/ 376 w 797"/>
                <a:gd name="T41" fmla="*/ 19 h 1125"/>
                <a:gd name="T42" fmla="*/ 376 w 797"/>
                <a:gd name="T43" fmla="*/ 168 h 1125"/>
                <a:gd name="T44" fmla="*/ 271 w 797"/>
                <a:gd name="T45" fmla="*/ 294 h 1125"/>
                <a:gd name="T46" fmla="*/ 316 w 797"/>
                <a:gd name="T47" fmla="*/ 393 h 1125"/>
                <a:gd name="T48" fmla="*/ 3 w 797"/>
                <a:gd name="T49" fmla="*/ 1095 h 1125"/>
                <a:gd name="T50" fmla="*/ 15 w 797"/>
                <a:gd name="T51" fmla="*/ 1121 h 1125"/>
                <a:gd name="T52" fmla="*/ 41 w 797"/>
                <a:gd name="T53" fmla="*/ 1110 h 1125"/>
                <a:gd name="T54" fmla="*/ 353 w 797"/>
                <a:gd name="T55" fmla="*/ 416 h 1125"/>
                <a:gd name="T56" fmla="*/ 357 w 797"/>
                <a:gd name="T57" fmla="*/ 416 h 1125"/>
                <a:gd name="T58" fmla="*/ 372 w 797"/>
                <a:gd name="T59" fmla="*/ 420 h 1125"/>
                <a:gd name="T60" fmla="*/ 383 w 797"/>
                <a:gd name="T61" fmla="*/ 423 h 1125"/>
                <a:gd name="T62" fmla="*/ 399 w 797"/>
                <a:gd name="T63" fmla="*/ 423 h 1125"/>
                <a:gd name="T64" fmla="*/ 410 w 797"/>
                <a:gd name="T65" fmla="*/ 423 h 1125"/>
                <a:gd name="T66" fmla="*/ 421 w 797"/>
                <a:gd name="T67" fmla="*/ 420 h 1125"/>
                <a:gd name="T68" fmla="*/ 440 w 797"/>
                <a:gd name="T69" fmla="*/ 416 h 1125"/>
                <a:gd name="T70" fmla="*/ 444 w 797"/>
                <a:gd name="T71" fmla="*/ 416 h 1125"/>
                <a:gd name="T72" fmla="*/ 590 w 797"/>
                <a:gd name="T73" fmla="*/ 748 h 1125"/>
                <a:gd name="T74" fmla="*/ 399 w 797"/>
                <a:gd name="T75" fmla="*/ 790 h 1125"/>
                <a:gd name="T76" fmla="*/ 297 w 797"/>
                <a:gd name="T77" fmla="*/ 778 h 1125"/>
                <a:gd name="T78" fmla="*/ 271 w 797"/>
                <a:gd name="T79" fmla="*/ 793 h 1125"/>
                <a:gd name="T80" fmla="*/ 286 w 797"/>
                <a:gd name="T81" fmla="*/ 820 h 1125"/>
                <a:gd name="T82" fmla="*/ 399 w 797"/>
                <a:gd name="T83" fmla="*/ 832 h 1125"/>
                <a:gd name="T84" fmla="*/ 609 w 797"/>
                <a:gd name="T85" fmla="*/ 786 h 1125"/>
                <a:gd name="T86" fmla="*/ 752 w 797"/>
                <a:gd name="T87" fmla="*/ 1110 h 1125"/>
                <a:gd name="T88" fmla="*/ 771 w 797"/>
                <a:gd name="T89" fmla="*/ 1125 h 1125"/>
                <a:gd name="T90" fmla="*/ 782 w 797"/>
                <a:gd name="T91" fmla="*/ 1121 h 1125"/>
                <a:gd name="T92" fmla="*/ 790 w 797"/>
                <a:gd name="T93" fmla="*/ 1095 h 1125"/>
                <a:gd name="T94" fmla="*/ 647 w 797"/>
                <a:gd name="T95" fmla="*/ 767 h 1125"/>
                <a:gd name="T96" fmla="*/ 786 w 797"/>
                <a:gd name="T97" fmla="*/ 656 h 1125"/>
                <a:gd name="T98" fmla="*/ 786 w 797"/>
                <a:gd name="T99" fmla="*/ 626 h 1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97" h="1125">
                  <a:moveTo>
                    <a:pt x="399" y="210"/>
                  </a:moveTo>
                  <a:cubicBezTo>
                    <a:pt x="444" y="210"/>
                    <a:pt x="481" y="248"/>
                    <a:pt x="481" y="294"/>
                  </a:cubicBezTo>
                  <a:cubicBezTo>
                    <a:pt x="481" y="328"/>
                    <a:pt x="466" y="355"/>
                    <a:pt x="444" y="370"/>
                  </a:cubicBezTo>
                  <a:cubicBezTo>
                    <a:pt x="444" y="370"/>
                    <a:pt x="444" y="370"/>
                    <a:pt x="444" y="370"/>
                  </a:cubicBezTo>
                  <a:cubicBezTo>
                    <a:pt x="436" y="374"/>
                    <a:pt x="429" y="378"/>
                    <a:pt x="421" y="378"/>
                  </a:cubicBezTo>
                  <a:cubicBezTo>
                    <a:pt x="421" y="378"/>
                    <a:pt x="421" y="378"/>
                    <a:pt x="421" y="378"/>
                  </a:cubicBezTo>
                  <a:cubicBezTo>
                    <a:pt x="406" y="381"/>
                    <a:pt x="391" y="381"/>
                    <a:pt x="376" y="378"/>
                  </a:cubicBezTo>
                  <a:cubicBezTo>
                    <a:pt x="372" y="378"/>
                    <a:pt x="372" y="378"/>
                    <a:pt x="372" y="378"/>
                  </a:cubicBezTo>
                  <a:cubicBezTo>
                    <a:pt x="365" y="378"/>
                    <a:pt x="361" y="374"/>
                    <a:pt x="353" y="370"/>
                  </a:cubicBezTo>
                  <a:cubicBezTo>
                    <a:pt x="353" y="370"/>
                    <a:pt x="353" y="370"/>
                    <a:pt x="353" y="370"/>
                  </a:cubicBezTo>
                  <a:cubicBezTo>
                    <a:pt x="327" y="355"/>
                    <a:pt x="312" y="328"/>
                    <a:pt x="312" y="294"/>
                  </a:cubicBezTo>
                  <a:cubicBezTo>
                    <a:pt x="312" y="248"/>
                    <a:pt x="350" y="210"/>
                    <a:pt x="399" y="210"/>
                  </a:cubicBezTo>
                  <a:close/>
                  <a:moveTo>
                    <a:pt x="786" y="626"/>
                  </a:moveTo>
                  <a:cubicBezTo>
                    <a:pt x="779" y="618"/>
                    <a:pt x="764" y="618"/>
                    <a:pt x="756" y="626"/>
                  </a:cubicBezTo>
                  <a:cubicBezTo>
                    <a:pt x="718" y="667"/>
                    <a:pt x="677" y="702"/>
                    <a:pt x="628" y="729"/>
                  </a:cubicBezTo>
                  <a:cubicBezTo>
                    <a:pt x="478" y="393"/>
                    <a:pt x="478" y="393"/>
                    <a:pt x="478" y="393"/>
                  </a:cubicBezTo>
                  <a:cubicBezTo>
                    <a:pt x="508" y="370"/>
                    <a:pt x="523" y="336"/>
                    <a:pt x="523" y="294"/>
                  </a:cubicBezTo>
                  <a:cubicBezTo>
                    <a:pt x="523" y="233"/>
                    <a:pt x="478" y="179"/>
                    <a:pt x="417" y="168"/>
                  </a:cubicBezTo>
                  <a:cubicBezTo>
                    <a:pt x="417" y="19"/>
                    <a:pt x="417" y="19"/>
                    <a:pt x="417" y="19"/>
                  </a:cubicBezTo>
                  <a:cubicBezTo>
                    <a:pt x="417" y="8"/>
                    <a:pt x="410" y="0"/>
                    <a:pt x="399" y="0"/>
                  </a:cubicBezTo>
                  <a:cubicBezTo>
                    <a:pt x="387" y="0"/>
                    <a:pt x="376" y="8"/>
                    <a:pt x="376" y="19"/>
                  </a:cubicBezTo>
                  <a:cubicBezTo>
                    <a:pt x="376" y="168"/>
                    <a:pt x="376" y="168"/>
                    <a:pt x="376" y="168"/>
                  </a:cubicBezTo>
                  <a:cubicBezTo>
                    <a:pt x="316" y="179"/>
                    <a:pt x="271" y="233"/>
                    <a:pt x="271" y="294"/>
                  </a:cubicBezTo>
                  <a:cubicBezTo>
                    <a:pt x="271" y="336"/>
                    <a:pt x="289" y="370"/>
                    <a:pt x="316" y="393"/>
                  </a:cubicBezTo>
                  <a:cubicBezTo>
                    <a:pt x="3" y="1095"/>
                    <a:pt x="3" y="1095"/>
                    <a:pt x="3" y="1095"/>
                  </a:cubicBezTo>
                  <a:cubicBezTo>
                    <a:pt x="0" y="1106"/>
                    <a:pt x="3" y="1118"/>
                    <a:pt x="15" y="1121"/>
                  </a:cubicBezTo>
                  <a:cubicBezTo>
                    <a:pt x="26" y="1125"/>
                    <a:pt x="37" y="1121"/>
                    <a:pt x="41" y="1110"/>
                  </a:cubicBezTo>
                  <a:cubicBezTo>
                    <a:pt x="353" y="416"/>
                    <a:pt x="353" y="416"/>
                    <a:pt x="353" y="416"/>
                  </a:cubicBezTo>
                  <a:cubicBezTo>
                    <a:pt x="353" y="416"/>
                    <a:pt x="353" y="416"/>
                    <a:pt x="357" y="416"/>
                  </a:cubicBezTo>
                  <a:cubicBezTo>
                    <a:pt x="361" y="420"/>
                    <a:pt x="368" y="420"/>
                    <a:pt x="372" y="420"/>
                  </a:cubicBezTo>
                  <a:cubicBezTo>
                    <a:pt x="376" y="423"/>
                    <a:pt x="380" y="423"/>
                    <a:pt x="383" y="423"/>
                  </a:cubicBezTo>
                  <a:cubicBezTo>
                    <a:pt x="391" y="423"/>
                    <a:pt x="395" y="423"/>
                    <a:pt x="399" y="423"/>
                  </a:cubicBezTo>
                  <a:cubicBezTo>
                    <a:pt x="402" y="423"/>
                    <a:pt x="406" y="423"/>
                    <a:pt x="410" y="423"/>
                  </a:cubicBezTo>
                  <a:cubicBezTo>
                    <a:pt x="414" y="423"/>
                    <a:pt x="417" y="423"/>
                    <a:pt x="421" y="420"/>
                  </a:cubicBezTo>
                  <a:cubicBezTo>
                    <a:pt x="429" y="420"/>
                    <a:pt x="432" y="420"/>
                    <a:pt x="440" y="416"/>
                  </a:cubicBezTo>
                  <a:cubicBezTo>
                    <a:pt x="440" y="416"/>
                    <a:pt x="440" y="416"/>
                    <a:pt x="444" y="416"/>
                  </a:cubicBezTo>
                  <a:cubicBezTo>
                    <a:pt x="590" y="748"/>
                    <a:pt x="590" y="748"/>
                    <a:pt x="590" y="748"/>
                  </a:cubicBezTo>
                  <a:cubicBezTo>
                    <a:pt x="530" y="774"/>
                    <a:pt x="466" y="790"/>
                    <a:pt x="399" y="790"/>
                  </a:cubicBezTo>
                  <a:cubicBezTo>
                    <a:pt x="365" y="790"/>
                    <a:pt x="327" y="786"/>
                    <a:pt x="297" y="778"/>
                  </a:cubicBezTo>
                  <a:cubicBezTo>
                    <a:pt x="286" y="774"/>
                    <a:pt x="274" y="782"/>
                    <a:pt x="271" y="793"/>
                  </a:cubicBezTo>
                  <a:cubicBezTo>
                    <a:pt x="271" y="805"/>
                    <a:pt x="274" y="816"/>
                    <a:pt x="286" y="820"/>
                  </a:cubicBezTo>
                  <a:cubicBezTo>
                    <a:pt x="323" y="828"/>
                    <a:pt x="361" y="832"/>
                    <a:pt x="399" y="832"/>
                  </a:cubicBezTo>
                  <a:cubicBezTo>
                    <a:pt x="470" y="832"/>
                    <a:pt x="541" y="812"/>
                    <a:pt x="609" y="786"/>
                  </a:cubicBezTo>
                  <a:cubicBezTo>
                    <a:pt x="752" y="1110"/>
                    <a:pt x="752" y="1110"/>
                    <a:pt x="752" y="1110"/>
                  </a:cubicBezTo>
                  <a:cubicBezTo>
                    <a:pt x="756" y="1118"/>
                    <a:pt x="764" y="1125"/>
                    <a:pt x="771" y="1125"/>
                  </a:cubicBezTo>
                  <a:cubicBezTo>
                    <a:pt x="775" y="1125"/>
                    <a:pt x="779" y="1121"/>
                    <a:pt x="782" y="1121"/>
                  </a:cubicBezTo>
                  <a:cubicBezTo>
                    <a:pt x="790" y="1118"/>
                    <a:pt x="797" y="1106"/>
                    <a:pt x="790" y="1095"/>
                  </a:cubicBezTo>
                  <a:cubicBezTo>
                    <a:pt x="647" y="767"/>
                    <a:pt x="647" y="767"/>
                    <a:pt x="647" y="767"/>
                  </a:cubicBezTo>
                  <a:cubicBezTo>
                    <a:pt x="700" y="736"/>
                    <a:pt x="745" y="702"/>
                    <a:pt x="786" y="656"/>
                  </a:cubicBezTo>
                  <a:cubicBezTo>
                    <a:pt x="794" y="645"/>
                    <a:pt x="794" y="633"/>
                    <a:pt x="786" y="62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166" name="Group 165">
            <a:extLst>
              <a:ext uri="{FF2B5EF4-FFF2-40B4-BE49-F238E27FC236}">
                <a16:creationId xmlns:a16="http://schemas.microsoft.com/office/drawing/2014/main" id="{A09BFB2B-CBB4-426D-B5E2-6B6BC362362E}"/>
              </a:ext>
            </a:extLst>
          </p:cNvPr>
          <p:cNvGrpSpPr/>
          <p:nvPr/>
        </p:nvGrpSpPr>
        <p:grpSpPr>
          <a:xfrm>
            <a:off x="6457589" y="2476490"/>
            <a:ext cx="3187062" cy="2976162"/>
            <a:chOff x="8566646" y="2482067"/>
            <a:chExt cx="3187062" cy="3211252"/>
          </a:xfrm>
        </p:grpSpPr>
        <p:sp>
          <p:nvSpPr>
            <p:cNvPr id="93" name="Rectangle 92">
              <a:extLst>
                <a:ext uri="{FF2B5EF4-FFF2-40B4-BE49-F238E27FC236}">
                  <a16:creationId xmlns:a16="http://schemas.microsoft.com/office/drawing/2014/main" id="{F4F4EC27-D81C-4511-BEC6-5A0899ABCD97}"/>
                </a:ext>
              </a:extLst>
            </p:cNvPr>
            <p:cNvSpPr/>
            <p:nvPr/>
          </p:nvSpPr>
          <p:spPr>
            <a:xfrm>
              <a:off x="9285534" y="2482067"/>
              <a:ext cx="2468174" cy="3024680"/>
            </a:xfrm>
            <a:prstGeom prst="rect">
              <a:avLst/>
            </a:prstGeom>
            <a:solidFill>
              <a:schemeClr val="bg1">
                <a:alpha val="65000"/>
              </a:schemeClr>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US" dirty="0" err="1"/>
            </a:p>
          </p:txBody>
        </p:sp>
        <p:sp>
          <p:nvSpPr>
            <p:cNvPr id="94" name="TextBox 93">
              <a:extLst>
                <a:ext uri="{FF2B5EF4-FFF2-40B4-BE49-F238E27FC236}">
                  <a16:creationId xmlns:a16="http://schemas.microsoft.com/office/drawing/2014/main" id="{D09105B3-2ABA-4FB5-81F5-4B409C165CB2}"/>
                </a:ext>
              </a:extLst>
            </p:cNvPr>
            <p:cNvSpPr txBox="1"/>
            <p:nvPr/>
          </p:nvSpPr>
          <p:spPr>
            <a:xfrm>
              <a:off x="9472348" y="4321719"/>
              <a:ext cx="2103120" cy="1371600"/>
            </a:xfrm>
            <a:prstGeom prst="rect">
              <a:avLst/>
            </a:prstGeom>
            <a:noFill/>
          </p:spPr>
          <p:txBody>
            <a:bodyPr wrap="square" lIns="0" tIns="0" rIns="0" bIns="0" rtlCol="0">
              <a:noAutofit/>
            </a:bodyPr>
            <a:lstStyle/>
            <a:p>
              <a:pPr marL="0" lvl="6" defTabSz="914400">
                <a:lnSpc>
                  <a:spcPct val="90000"/>
                </a:lnSpc>
                <a:spcBef>
                  <a:spcPts val="200"/>
                </a:spcBef>
                <a:spcAft>
                  <a:spcPts val="600"/>
                </a:spcAft>
                <a:buFont typeface="Arial" panose="020B0604020202020204" pitchFamily="34" charset="0"/>
                <a:buChar char="​"/>
              </a:pPr>
              <a:r>
                <a:rPr lang="en-US" sz="1600" dirty="0">
                  <a:solidFill>
                    <a:schemeClr val="tx1">
                      <a:lumMod val="85000"/>
                      <a:lumOff val="15000"/>
                    </a:schemeClr>
                  </a:solidFill>
                </a:rPr>
                <a:t>Test &amp; Engineering leaders</a:t>
              </a:r>
            </a:p>
          </p:txBody>
        </p:sp>
        <p:cxnSp>
          <p:nvCxnSpPr>
            <p:cNvPr id="95" name="Straight Connector 94">
              <a:extLst>
                <a:ext uri="{FF2B5EF4-FFF2-40B4-BE49-F238E27FC236}">
                  <a16:creationId xmlns:a16="http://schemas.microsoft.com/office/drawing/2014/main" id="{9193F353-1BB7-4D91-B6A8-36B0EF557A5D}"/>
                </a:ext>
              </a:extLst>
            </p:cNvPr>
            <p:cNvCxnSpPr/>
            <p:nvPr/>
          </p:nvCxnSpPr>
          <p:spPr>
            <a:xfrm>
              <a:off x="9457724" y="4045078"/>
              <a:ext cx="210312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63" name="Freeform 7">
              <a:extLst>
                <a:ext uri="{FF2B5EF4-FFF2-40B4-BE49-F238E27FC236}">
                  <a16:creationId xmlns:a16="http://schemas.microsoft.com/office/drawing/2014/main" id="{405E78EA-0001-4377-B629-5DEEF3A7D5C0}"/>
                </a:ext>
              </a:extLst>
            </p:cNvPr>
            <p:cNvSpPr>
              <a:spLocks noChangeAspect="1" noEditPoints="1"/>
            </p:cNvSpPr>
            <p:nvPr/>
          </p:nvSpPr>
          <p:spPr bwMode="auto">
            <a:xfrm>
              <a:off x="8566646" y="2556491"/>
              <a:ext cx="638719" cy="640080"/>
            </a:xfrm>
            <a:custGeom>
              <a:avLst/>
              <a:gdLst>
                <a:gd name="T0" fmla="*/ 651 w 798"/>
                <a:gd name="T1" fmla="*/ 555 h 798"/>
                <a:gd name="T2" fmla="*/ 637 w 798"/>
                <a:gd name="T3" fmla="*/ 683 h 798"/>
                <a:gd name="T4" fmla="*/ 445 w 798"/>
                <a:gd name="T5" fmla="*/ 764 h 798"/>
                <a:gd name="T6" fmla="*/ 356 w 798"/>
                <a:gd name="T7" fmla="*/ 766 h 798"/>
                <a:gd name="T8" fmla="*/ 241 w 798"/>
                <a:gd name="T9" fmla="*/ 649 h 798"/>
                <a:gd name="T10" fmla="*/ 115 w 798"/>
                <a:gd name="T11" fmla="*/ 635 h 798"/>
                <a:gd name="T12" fmla="*/ 32 w 798"/>
                <a:gd name="T13" fmla="*/ 443 h 798"/>
                <a:gd name="T14" fmla="*/ 32 w 798"/>
                <a:gd name="T15" fmla="*/ 355 h 798"/>
                <a:gd name="T16" fmla="*/ 148 w 798"/>
                <a:gd name="T17" fmla="*/ 243 h 798"/>
                <a:gd name="T18" fmla="*/ 164 w 798"/>
                <a:gd name="T19" fmla="*/ 115 h 798"/>
                <a:gd name="T20" fmla="*/ 356 w 798"/>
                <a:gd name="T21" fmla="*/ 38 h 798"/>
                <a:gd name="T22" fmla="*/ 445 w 798"/>
                <a:gd name="T23" fmla="*/ 33 h 798"/>
                <a:gd name="T24" fmla="*/ 557 w 798"/>
                <a:gd name="T25" fmla="*/ 150 h 798"/>
                <a:gd name="T26" fmla="*/ 683 w 798"/>
                <a:gd name="T27" fmla="*/ 163 h 798"/>
                <a:gd name="T28" fmla="*/ 763 w 798"/>
                <a:gd name="T29" fmla="*/ 355 h 798"/>
                <a:gd name="T30" fmla="*/ 769 w 798"/>
                <a:gd name="T31" fmla="*/ 401 h 798"/>
                <a:gd name="T32" fmla="*/ 787 w 798"/>
                <a:gd name="T33" fmla="*/ 326 h 798"/>
                <a:gd name="T34" fmla="*/ 763 w 798"/>
                <a:gd name="T35" fmla="*/ 326 h 798"/>
                <a:gd name="T36" fmla="*/ 712 w 798"/>
                <a:gd name="T37" fmla="*/ 177 h 798"/>
                <a:gd name="T38" fmla="*/ 715 w 798"/>
                <a:gd name="T39" fmla="*/ 155 h 798"/>
                <a:gd name="T40" fmla="*/ 632 w 798"/>
                <a:gd name="T41" fmla="*/ 81 h 798"/>
                <a:gd name="T42" fmla="*/ 557 w 798"/>
                <a:gd name="T43" fmla="*/ 121 h 798"/>
                <a:gd name="T44" fmla="*/ 474 w 798"/>
                <a:gd name="T45" fmla="*/ 24 h 798"/>
                <a:gd name="T46" fmla="*/ 463 w 798"/>
                <a:gd name="T47" fmla="*/ 6 h 798"/>
                <a:gd name="T48" fmla="*/ 327 w 798"/>
                <a:gd name="T49" fmla="*/ 14 h 798"/>
                <a:gd name="T50" fmla="*/ 327 w 798"/>
                <a:gd name="T51" fmla="*/ 38 h 798"/>
                <a:gd name="T52" fmla="*/ 177 w 798"/>
                <a:gd name="T53" fmla="*/ 89 h 798"/>
                <a:gd name="T54" fmla="*/ 156 w 798"/>
                <a:gd name="T55" fmla="*/ 86 h 798"/>
                <a:gd name="T56" fmla="*/ 81 w 798"/>
                <a:gd name="T57" fmla="*/ 166 h 798"/>
                <a:gd name="T58" fmla="*/ 118 w 798"/>
                <a:gd name="T59" fmla="*/ 243 h 798"/>
                <a:gd name="T60" fmla="*/ 22 w 798"/>
                <a:gd name="T61" fmla="*/ 326 h 798"/>
                <a:gd name="T62" fmla="*/ 6 w 798"/>
                <a:gd name="T63" fmla="*/ 337 h 798"/>
                <a:gd name="T64" fmla="*/ 6 w 798"/>
                <a:gd name="T65" fmla="*/ 462 h 798"/>
                <a:gd name="T66" fmla="*/ 22 w 798"/>
                <a:gd name="T67" fmla="*/ 475 h 798"/>
                <a:gd name="T68" fmla="*/ 118 w 798"/>
                <a:gd name="T69" fmla="*/ 555 h 798"/>
                <a:gd name="T70" fmla="*/ 81 w 798"/>
                <a:gd name="T71" fmla="*/ 633 h 798"/>
                <a:gd name="T72" fmla="*/ 156 w 798"/>
                <a:gd name="T73" fmla="*/ 716 h 798"/>
                <a:gd name="T74" fmla="*/ 177 w 798"/>
                <a:gd name="T75" fmla="*/ 713 h 798"/>
                <a:gd name="T76" fmla="*/ 327 w 798"/>
                <a:gd name="T77" fmla="*/ 764 h 798"/>
                <a:gd name="T78" fmla="*/ 327 w 798"/>
                <a:gd name="T79" fmla="*/ 788 h 798"/>
                <a:gd name="T80" fmla="*/ 399 w 798"/>
                <a:gd name="T81" fmla="*/ 798 h 798"/>
                <a:gd name="T82" fmla="*/ 471 w 798"/>
                <a:gd name="T83" fmla="*/ 788 h 798"/>
                <a:gd name="T84" fmla="*/ 474 w 798"/>
                <a:gd name="T85" fmla="*/ 764 h 798"/>
                <a:gd name="T86" fmla="*/ 624 w 798"/>
                <a:gd name="T87" fmla="*/ 713 h 798"/>
                <a:gd name="T88" fmla="*/ 643 w 798"/>
                <a:gd name="T89" fmla="*/ 716 h 798"/>
                <a:gd name="T90" fmla="*/ 718 w 798"/>
                <a:gd name="T91" fmla="*/ 633 h 798"/>
                <a:gd name="T92" fmla="*/ 680 w 798"/>
                <a:gd name="T93" fmla="*/ 555 h 798"/>
                <a:gd name="T94" fmla="*/ 777 w 798"/>
                <a:gd name="T95" fmla="*/ 475 h 798"/>
                <a:gd name="T96" fmla="*/ 793 w 798"/>
                <a:gd name="T97" fmla="*/ 462 h 798"/>
                <a:gd name="T98" fmla="*/ 793 w 798"/>
                <a:gd name="T99" fmla="*/ 337 h 798"/>
                <a:gd name="T100" fmla="*/ 399 w 798"/>
                <a:gd name="T101" fmla="*/ 569 h 798"/>
                <a:gd name="T102" fmla="*/ 399 w 798"/>
                <a:gd name="T103" fmla="*/ 230 h 798"/>
                <a:gd name="T104" fmla="*/ 399 w 798"/>
                <a:gd name="T105" fmla="*/ 569 h 798"/>
                <a:gd name="T106" fmla="*/ 201 w 798"/>
                <a:gd name="T107" fmla="*/ 401 h 798"/>
                <a:gd name="T108" fmla="*/ 597 w 798"/>
                <a:gd name="T109" fmla="*/ 401 h 7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98" h="798">
                  <a:moveTo>
                    <a:pt x="766" y="443"/>
                  </a:moveTo>
                  <a:cubicBezTo>
                    <a:pt x="704" y="441"/>
                    <a:pt x="651" y="494"/>
                    <a:pt x="651" y="555"/>
                  </a:cubicBezTo>
                  <a:cubicBezTo>
                    <a:pt x="651" y="587"/>
                    <a:pt x="661" y="614"/>
                    <a:pt x="683" y="635"/>
                  </a:cubicBezTo>
                  <a:cubicBezTo>
                    <a:pt x="670" y="651"/>
                    <a:pt x="653" y="667"/>
                    <a:pt x="637" y="683"/>
                  </a:cubicBezTo>
                  <a:cubicBezTo>
                    <a:pt x="616" y="662"/>
                    <a:pt x="587" y="649"/>
                    <a:pt x="557" y="649"/>
                  </a:cubicBezTo>
                  <a:cubicBezTo>
                    <a:pt x="496" y="649"/>
                    <a:pt x="445" y="699"/>
                    <a:pt x="445" y="764"/>
                  </a:cubicBezTo>
                  <a:cubicBezTo>
                    <a:pt x="445" y="764"/>
                    <a:pt x="445" y="764"/>
                    <a:pt x="445" y="766"/>
                  </a:cubicBezTo>
                  <a:cubicBezTo>
                    <a:pt x="413" y="769"/>
                    <a:pt x="386" y="769"/>
                    <a:pt x="356" y="766"/>
                  </a:cubicBezTo>
                  <a:cubicBezTo>
                    <a:pt x="356" y="764"/>
                    <a:pt x="356" y="764"/>
                    <a:pt x="356" y="764"/>
                  </a:cubicBezTo>
                  <a:cubicBezTo>
                    <a:pt x="356" y="699"/>
                    <a:pt x="305" y="649"/>
                    <a:pt x="241" y="649"/>
                  </a:cubicBezTo>
                  <a:cubicBezTo>
                    <a:pt x="212" y="649"/>
                    <a:pt x="185" y="662"/>
                    <a:pt x="164" y="683"/>
                  </a:cubicBezTo>
                  <a:cubicBezTo>
                    <a:pt x="145" y="667"/>
                    <a:pt x="129" y="651"/>
                    <a:pt x="115" y="635"/>
                  </a:cubicBezTo>
                  <a:cubicBezTo>
                    <a:pt x="137" y="614"/>
                    <a:pt x="148" y="587"/>
                    <a:pt x="148" y="555"/>
                  </a:cubicBezTo>
                  <a:cubicBezTo>
                    <a:pt x="148" y="494"/>
                    <a:pt x="94" y="441"/>
                    <a:pt x="32" y="443"/>
                  </a:cubicBezTo>
                  <a:cubicBezTo>
                    <a:pt x="30" y="427"/>
                    <a:pt x="30" y="414"/>
                    <a:pt x="30" y="401"/>
                  </a:cubicBezTo>
                  <a:cubicBezTo>
                    <a:pt x="30" y="385"/>
                    <a:pt x="30" y="371"/>
                    <a:pt x="32" y="355"/>
                  </a:cubicBezTo>
                  <a:cubicBezTo>
                    <a:pt x="35" y="355"/>
                    <a:pt x="35" y="355"/>
                    <a:pt x="35" y="355"/>
                  </a:cubicBezTo>
                  <a:cubicBezTo>
                    <a:pt x="97" y="355"/>
                    <a:pt x="148" y="305"/>
                    <a:pt x="148" y="243"/>
                  </a:cubicBezTo>
                  <a:cubicBezTo>
                    <a:pt x="148" y="214"/>
                    <a:pt x="137" y="185"/>
                    <a:pt x="115" y="163"/>
                  </a:cubicBezTo>
                  <a:cubicBezTo>
                    <a:pt x="129" y="147"/>
                    <a:pt x="145" y="131"/>
                    <a:pt x="164" y="115"/>
                  </a:cubicBezTo>
                  <a:cubicBezTo>
                    <a:pt x="185" y="137"/>
                    <a:pt x="212" y="150"/>
                    <a:pt x="241" y="150"/>
                  </a:cubicBezTo>
                  <a:cubicBezTo>
                    <a:pt x="305" y="150"/>
                    <a:pt x="356" y="99"/>
                    <a:pt x="356" y="38"/>
                  </a:cubicBezTo>
                  <a:cubicBezTo>
                    <a:pt x="356" y="35"/>
                    <a:pt x="356" y="35"/>
                    <a:pt x="356" y="33"/>
                  </a:cubicBezTo>
                  <a:cubicBezTo>
                    <a:pt x="386" y="30"/>
                    <a:pt x="413" y="30"/>
                    <a:pt x="445" y="33"/>
                  </a:cubicBezTo>
                  <a:cubicBezTo>
                    <a:pt x="445" y="35"/>
                    <a:pt x="445" y="35"/>
                    <a:pt x="445" y="38"/>
                  </a:cubicBezTo>
                  <a:cubicBezTo>
                    <a:pt x="445" y="99"/>
                    <a:pt x="496" y="150"/>
                    <a:pt x="557" y="150"/>
                  </a:cubicBezTo>
                  <a:cubicBezTo>
                    <a:pt x="587" y="150"/>
                    <a:pt x="616" y="137"/>
                    <a:pt x="637" y="115"/>
                  </a:cubicBezTo>
                  <a:cubicBezTo>
                    <a:pt x="653" y="131"/>
                    <a:pt x="670" y="147"/>
                    <a:pt x="683" y="163"/>
                  </a:cubicBezTo>
                  <a:cubicBezTo>
                    <a:pt x="661" y="185"/>
                    <a:pt x="651" y="214"/>
                    <a:pt x="651" y="243"/>
                  </a:cubicBezTo>
                  <a:cubicBezTo>
                    <a:pt x="651" y="305"/>
                    <a:pt x="702" y="355"/>
                    <a:pt x="763" y="355"/>
                  </a:cubicBezTo>
                  <a:cubicBezTo>
                    <a:pt x="766" y="355"/>
                    <a:pt x="766" y="355"/>
                    <a:pt x="766" y="355"/>
                  </a:cubicBezTo>
                  <a:cubicBezTo>
                    <a:pt x="769" y="371"/>
                    <a:pt x="769" y="385"/>
                    <a:pt x="769" y="401"/>
                  </a:cubicBezTo>
                  <a:cubicBezTo>
                    <a:pt x="769" y="414"/>
                    <a:pt x="769" y="427"/>
                    <a:pt x="766" y="443"/>
                  </a:cubicBezTo>
                  <a:close/>
                  <a:moveTo>
                    <a:pt x="787" y="326"/>
                  </a:moveTo>
                  <a:cubicBezTo>
                    <a:pt x="785" y="326"/>
                    <a:pt x="782" y="323"/>
                    <a:pt x="777" y="326"/>
                  </a:cubicBezTo>
                  <a:cubicBezTo>
                    <a:pt x="771" y="326"/>
                    <a:pt x="769" y="326"/>
                    <a:pt x="763" y="326"/>
                  </a:cubicBezTo>
                  <a:cubicBezTo>
                    <a:pt x="718" y="326"/>
                    <a:pt x="680" y="289"/>
                    <a:pt x="680" y="243"/>
                  </a:cubicBezTo>
                  <a:cubicBezTo>
                    <a:pt x="680" y="217"/>
                    <a:pt x="691" y="193"/>
                    <a:pt x="712" y="177"/>
                  </a:cubicBezTo>
                  <a:cubicBezTo>
                    <a:pt x="715" y="174"/>
                    <a:pt x="718" y="171"/>
                    <a:pt x="718" y="166"/>
                  </a:cubicBezTo>
                  <a:cubicBezTo>
                    <a:pt x="718" y="163"/>
                    <a:pt x="718" y="161"/>
                    <a:pt x="715" y="155"/>
                  </a:cubicBezTo>
                  <a:cubicBezTo>
                    <a:pt x="694" y="129"/>
                    <a:pt x="670" y="105"/>
                    <a:pt x="643" y="86"/>
                  </a:cubicBezTo>
                  <a:cubicBezTo>
                    <a:pt x="640" y="83"/>
                    <a:pt x="637" y="81"/>
                    <a:pt x="632" y="81"/>
                  </a:cubicBezTo>
                  <a:cubicBezTo>
                    <a:pt x="629" y="83"/>
                    <a:pt x="624" y="83"/>
                    <a:pt x="624" y="89"/>
                  </a:cubicBezTo>
                  <a:cubicBezTo>
                    <a:pt x="608" y="107"/>
                    <a:pt x="584" y="121"/>
                    <a:pt x="557" y="121"/>
                  </a:cubicBezTo>
                  <a:cubicBezTo>
                    <a:pt x="512" y="121"/>
                    <a:pt x="474" y="83"/>
                    <a:pt x="474" y="38"/>
                  </a:cubicBezTo>
                  <a:cubicBezTo>
                    <a:pt x="474" y="33"/>
                    <a:pt x="474" y="27"/>
                    <a:pt x="474" y="24"/>
                  </a:cubicBezTo>
                  <a:cubicBezTo>
                    <a:pt x="474" y="19"/>
                    <a:pt x="474" y="16"/>
                    <a:pt x="471" y="14"/>
                  </a:cubicBezTo>
                  <a:cubicBezTo>
                    <a:pt x="469" y="8"/>
                    <a:pt x="466" y="8"/>
                    <a:pt x="463" y="6"/>
                  </a:cubicBezTo>
                  <a:cubicBezTo>
                    <a:pt x="415" y="0"/>
                    <a:pt x="383" y="0"/>
                    <a:pt x="338" y="6"/>
                  </a:cubicBezTo>
                  <a:cubicBezTo>
                    <a:pt x="332" y="8"/>
                    <a:pt x="330" y="8"/>
                    <a:pt x="327" y="14"/>
                  </a:cubicBezTo>
                  <a:cubicBezTo>
                    <a:pt x="324" y="16"/>
                    <a:pt x="324" y="19"/>
                    <a:pt x="324" y="24"/>
                  </a:cubicBezTo>
                  <a:cubicBezTo>
                    <a:pt x="324" y="27"/>
                    <a:pt x="327" y="33"/>
                    <a:pt x="327" y="38"/>
                  </a:cubicBezTo>
                  <a:cubicBezTo>
                    <a:pt x="327" y="83"/>
                    <a:pt x="289" y="121"/>
                    <a:pt x="241" y="121"/>
                  </a:cubicBezTo>
                  <a:cubicBezTo>
                    <a:pt x="217" y="121"/>
                    <a:pt x="193" y="107"/>
                    <a:pt x="177" y="89"/>
                  </a:cubicBezTo>
                  <a:cubicBezTo>
                    <a:pt x="174" y="83"/>
                    <a:pt x="169" y="83"/>
                    <a:pt x="166" y="81"/>
                  </a:cubicBezTo>
                  <a:cubicBezTo>
                    <a:pt x="164" y="81"/>
                    <a:pt x="158" y="83"/>
                    <a:pt x="156" y="86"/>
                  </a:cubicBezTo>
                  <a:cubicBezTo>
                    <a:pt x="129" y="105"/>
                    <a:pt x="105" y="129"/>
                    <a:pt x="83" y="155"/>
                  </a:cubicBezTo>
                  <a:cubicBezTo>
                    <a:pt x="81" y="161"/>
                    <a:pt x="81" y="163"/>
                    <a:pt x="81" y="166"/>
                  </a:cubicBezTo>
                  <a:cubicBezTo>
                    <a:pt x="81" y="171"/>
                    <a:pt x="83" y="174"/>
                    <a:pt x="86" y="177"/>
                  </a:cubicBezTo>
                  <a:cubicBezTo>
                    <a:pt x="107" y="193"/>
                    <a:pt x="118" y="217"/>
                    <a:pt x="118" y="243"/>
                  </a:cubicBezTo>
                  <a:cubicBezTo>
                    <a:pt x="118" y="289"/>
                    <a:pt x="81" y="326"/>
                    <a:pt x="35" y="326"/>
                  </a:cubicBezTo>
                  <a:cubicBezTo>
                    <a:pt x="30" y="326"/>
                    <a:pt x="27" y="326"/>
                    <a:pt x="22" y="326"/>
                  </a:cubicBezTo>
                  <a:cubicBezTo>
                    <a:pt x="19" y="323"/>
                    <a:pt x="14" y="326"/>
                    <a:pt x="11" y="326"/>
                  </a:cubicBezTo>
                  <a:cubicBezTo>
                    <a:pt x="8" y="329"/>
                    <a:pt x="6" y="334"/>
                    <a:pt x="6" y="337"/>
                  </a:cubicBezTo>
                  <a:cubicBezTo>
                    <a:pt x="0" y="361"/>
                    <a:pt x="0" y="379"/>
                    <a:pt x="0" y="401"/>
                  </a:cubicBezTo>
                  <a:cubicBezTo>
                    <a:pt x="0" y="419"/>
                    <a:pt x="0" y="441"/>
                    <a:pt x="6" y="462"/>
                  </a:cubicBezTo>
                  <a:cubicBezTo>
                    <a:pt x="6" y="467"/>
                    <a:pt x="8" y="470"/>
                    <a:pt x="11" y="473"/>
                  </a:cubicBezTo>
                  <a:cubicBezTo>
                    <a:pt x="14" y="475"/>
                    <a:pt x="19" y="475"/>
                    <a:pt x="22" y="475"/>
                  </a:cubicBezTo>
                  <a:cubicBezTo>
                    <a:pt x="27" y="473"/>
                    <a:pt x="30" y="473"/>
                    <a:pt x="35" y="473"/>
                  </a:cubicBezTo>
                  <a:cubicBezTo>
                    <a:pt x="81" y="473"/>
                    <a:pt x="118" y="510"/>
                    <a:pt x="118" y="555"/>
                  </a:cubicBezTo>
                  <a:cubicBezTo>
                    <a:pt x="118" y="582"/>
                    <a:pt x="107" y="606"/>
                    <a:pt x="86" y="622"/>
                  </a:cubicBezTo>
                  <a:cubicBezTo>
                    <a:pt x="83" y="625"/>
                    <a:pt x="81" y="627"/>
                    <a:pt x="81" y="633"/>
                  </a:cubicBezTo>
                  <a:cubicBezTo>
                    <a:pt x="81" y="635"/>
                    <a:pt x="81" y="641"/>
                    <a:pt x="83" y="643"/>
                  </a:cubicBezTo>
                  <a:cubicBezTo>
                    <a:pt x="105" y="670"/>
                    <a:pt x="129" y="694"/>
                    <a:pt x="156" y="716"/>
                  </a:cubicBezTo>
                  <a:cubicBezTo>
                    <a:pt x="158" y="718"/>
                    <a:pt x="164" y="718"/>
                    <a:pt x="166" y="718"/>
                  </a:cubicBezTo>
                  <a:cubicBezTo>
                    <a:pt x="169" y="718"/>
                    <a:pt x="174" y="716"/>
                    <a:pt x="177" y="713"/>
                  </a:cubicBezTo>
                  <a:cubicBezTo>
                    <a:pt x="193" y="691"/>
                    <a:pt x="217" y="678"/>
                    <a:pt x="241" y="678"/>
                  </a:cubicBezTo>
                  <a:cubicBezTo>
                    <a:pt x="289" y="678"/>
                    <a:pt x="327" y="716"/>
                    <a:pt x="327" y="764"/>
                  </a:cubicBezTo>
                  <a:cubicBezTo>
                    <a:pt x="327" y="766"/>
                    <a:pt x="324" y="772"/>
                    <a:pt x="324" y="777"/>
                  </a:cubicBezTo>
                  <a:cubicBezTo>
                    <a:pt x="324" y="780"/>
                    <a:pt x="324" y="782"/>
                    <a:pt x="327" y="788"/>
                  </a:cubicBezTo>
                  <a:cubicBezTo>
                    <a:pt x="330" y="790"/>
                    <a:pt x="332" y="793"/>
                    <a:pt x="338" y="793"/>
                  </a:cubicBezTo>
                  <a:cubicBezTo>
                    <a:pt x="359" y="796"/>
                    <a:pt x="380" y="798"/>
                    <a:pt x="399" y="798"/>
                  </a:cubicBezTo>
                  <a:cubicBezTo>
                    <a:pt x="418" y="798"/>
                    <a:pt x="439" y="796"/>
                    <a:pt x="463" y="793"/>
                  </a:cubicBezTo>
                  <a:cubicBezTo>
                    <a:pt x="466" y="793"/>
                    <a:pt x="469" y="790"/>
                    <a:pt x="471" y="788"/>
                  </a:cubicBezTo>
                  <a:cubicBezTo>
                    <a:pt x="474" y="782"/>
                    <a:pt x="474" y="780"/>
                    <a:pt x="474" y="777"/>
                  </a:cubicBezTo>
                  <a:cubicBezTo>
                    <a:pt x="474" y="772"/>
                    <a:pt x="474" y="766"/>
                    <a:pt x="474" y="764"/>
                  </a:cubicBezTo>
                  <a:cubicBezTo>
                    <a:pt x="474" y="716"/>
                    <a:pt x="512" y="678"/>
                    <a:pt x="557" y="678"/>
                  </a:cubicBezTo>
                  <a:cubicBezTo>
                    <a:pt x="584" y="678"/>
                    <a:pt x="608" y="691"/>
                    <a:pt x="624" y="713"/>
                  </a:cubicBezTo>
                  <a:cubicBezTo>
                    <a:pt x="624" y="716"/>
                    <a:pt x="629" y="718"/>
                    <a:pt x="632" y="718"/>
                  </a:cubicBezTo>
                  <a:cubicBezTo>
                    <a:pt x="637" y="718"/>
                    <a:pt x="640" y="718"/>
                    <a:pt x="643" y="716"/>
                  </a:cubicBezTo>
                  <a:cubicBezTo>
                    <a:pt x="670" y="694"/>
                    <a:pt x="694" y="670"/>
                    <a:pt x="715" y="643"/>
                  </a:cubicBezTo>
                  <a:cubicBezTo>
                    <a:pt x="718" y="641"/>
                    <a:pt x="718" y="635"/>
                    <a:pt x="718" y="633"/>
                  </a:cubicBezTo>
                  <a:cubicBezTo>
                    <a:pt x="718" y="627"/>
                    <a:pt x="715" y="625"/>
                    <a:pt x="712" y="622"/>
                  </a:cubicBezTo>
                  <a:cubicBezTo>
                    <a:pt x="691" y="606"/>
                    <a:pt x="680" y="582"/>
                    <a:pt x="680" y="555"/>
                  </a:cubicBezTo>
                  <a:cubicBezTo>
                    <a:pt x="680" y="510"/>
                    <a:pt x="718" y="473"/>
                    <a:pt x="763" y="473"/>
                  </a:cubicBezTo>
                  <a:cubicBezTo>
                    <a:pt x="769" y="473"/>
                    <a:pt x="771" y="473"/>
                    <a:pt x="777" y="475"/>
                  </a:cubicBezTo>
                  <a:cubicBezTo>
                    <a:pt x="782" y="475"/>
                    <a:pt x="785" y="475"/>
                    <a:pt x="787" y="473"/>
                  </a:cubicBezTo>
                  <a:cubicBezTo>
                    <a:pt x="790" y="470"/>
                    <a:pt x="793" y="467"/>
                    <a:pt x="793" y="462"/>
                  </a:cubicBezTo>
                  <a:cubicBezTo>
                    <a:pt x="798" y="441"/>
                    <a:pt x="798" y="419"/>
                    <a:pt x="798" y="401"/>
                  </a:cubicBezTo>
                  <a:cubicBezTo>
                    <a:pt x="798" y="379"/>
                    <a:pt x="798" y="361"/>
                    <a:pt x="793" y="337"/>
                  </a:cubicBezTo>
                  <a:cubicBezTo>
                    <a:pt x="793" y="334"/>
                    <a:pt x="790" y="329"/>
                    <a:pt x="787" y="326"/>
                  </a:cubicBezTo>
                  <a:close/>
                  <a:moveTo>
                    <a:pt x="399" y="569"/>
                  </a:moveTo>
                  <a:cubicBezTo>
                    <a:pt x="305" y="569"/>
                    <a:pt x="230" y="491"/>
                    <a:pt x="230" y="401"/>
                  </a:cubicBezTo>
                  <a:cubicBezTo>
                    <a:pt x="230" y="307"/>
                    <a:pt x="305" y="230"/>
                    <a:pt x="399" y="230"/>
                  </a:cubicBezTo>
                  <a:cubicBezTo>
                    <a:pt x="493" y="230"/>
                    <a:pt x="568" y="307"/>
                    <a:pt x="568" y="401"/>
                  </a:cubicBezTo>
                  <a:cubicBezTo>
                    <a:pt x="568" y="491"/>
                    <a:pt x="493" y="569"/>
                    <a:pt x="399" y="569"/>
                  </a:cubicBezTo>
                  <a:close/>
                  <a:moveTo>
                    <a:pt x="399" y="201"/>
                  </a:moveTo>
                  <a:cubicBezTo>
                    <a:pt x="289" y="201"/>
                    <a:pt x="201" y="291"/>
                    <a:pt x="201" y="401"/>
                  </a:cubicBezTo>
                  <a:cubicBezTo>
                    <a:pt x="201" y="510"/>
                    <a:pt x="289" y="598"/>
                    <a:pt x="399" y="598"/>
                  </a:cubicBezTo>
                  <a:cubicBezTo>
                    <a:pt x="509" y="598"/>
                    <a:pt x="597" y="510"/>
                    <a:pt x="597" y="401"/>
                  </a:cubicBezTo>
                  <a:cubicBezTo>
                    <a:pt x="597" y="291"/>
                    <a:pt x="509" y="201"/>
                    <a:pt x="399" y="20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2" name="Footer Placeholder 1">
            <a:extLst>
              <a:ext uri="{FF2B5EF4-FFF2-40B4-BE49-F238E27FC236}">
                <a16:creationId xmlns:a16="http://schemas.microsoft.com/office/drawing/2014/main" id="{6E5D2089-842B-4428-96D0-05F227DD230B}"/>
              </a:ext>
            </a:extLst>
          </p:cNvPr>
          <p:cNvSpPr>
            <a:spLocks noGrp="1"/>
          </p:cNvSpPr>
          <p:nvPr>
            <p:ph type="ftr" sz="quarter" idx="14"/>
          </p:nvPr>
        </p:nvSpPr>
        <p:spPr/>
        <p:txBody>
          <a:bodyPr/>
          <a:lstStyle/>
          <a:p>
            <a:r>
              <a:rPr lang="en-US"/>
              <a:t>Optional Title of the Presentation</a:t>
            </a:r>
            <a:endParaRPr lang="en-US" dirty="0"/>
          </a:p>
        </p:txBody>
      </p:sp>
      <p:sp>
        <p:nvSpPr>
          <p:cNvPr id="26" name="Oval 25">
            <a:extLst>
              <a:ext uri="{FF2B5EF4-FFF2-40B4-BE49-F238E27FC236}">
                <a16:creationId xmlns:a16="http://schemas.microsoft.com/office/drawing/2014/main" id="{C3B6170E-22EA-3F42-9186-B868AD0DF6CA}"/>
              </a:ext>
            </a:extLst>
          </p:cNvPr>
          <p:cNvSpPr/>
          <p:nvPr/>
        </p:nvSpPr>
        <p:spPr bwMode="auto">
          <a:xfrm>
            <a:off x="6355130" y="2585795"/>
            <a:ext cx="718888" cy="673779"/>
          </a:xfrm>
          <a:prstGeom prst="ellipse">
            <a:avLst/>
          </a:prstGeom>
          <a:solidFill>
            <a:srgbClr val="524F56"/>
          </a:solidFill>
          <a:ln w="9525" cap="flat" cmpd="sng" algn="ctr">
            <a:solidFill>
              <a:srgbClr val="524F56"/>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Montserrat" pitchFamily="2" charset="77"/>
              <a:ea typeface="Segoe UI" pitchFamily="34" charset="0"/>
              <a:cs typeface="Segoe UI" pitchFamily="34" charset="0"/>
            </a:endParaRPr>
          </a:p>
        </p:txBody>
      </p:sp>
      <p:grpSp>
        <p:nvGrpSpPr>
          <p:cNvPr id="27" name="Group 13">
            <a:extLst>
              <a:ext uri="{FF2B5EF4-FFF2-40B4-BE49-F238E27FC236}">
                <a16:creationId xmlns:a16="http://schemas.microsoft.com/office/drawing/2014/main" id="{4F74331F-FFA6-0849-9E04-CFC1770F648F}"/>
              </a:ext>
            </a:extLst>
          </p:cNvPr>
          <p:cNvGrpSpPr>
            <a:grpSpLocks noChangeAspect="1"/>
          </p:cNvGrpSpPr>
          <p:nvPr/>
        </p:nvGrpSpPr>
        <p:grpSpPr bwMode="auto">
          <a:xfrm>
            <a:off x="6477169" y="2678414"/>
            <a:ext cx="463321" cy="437077"/>
            <a:chOff x="2975" y="1344"/>
            <a:chExt cx="1730" cy="1632"/>
          </a:xfrm>
        </p:grpSpPr>
        <p:sp>
          <p:nvSpPr>
            <p:cNvPr id="28" name="AutoShape 12">
              <a:extLst>
                <a:ext uri="{FF2B5EF4-FFF2-40B4-BE49-F238E27FC236}">
                  <a16:creationId xmlns:a16="http://schemas.microsoft.com/office/drawing/2014/main" id="{F6F03D16-6616-5046-A119-2FDC69EA1D9A}"/>
                </a:ext>
              </a:extLst>
            </p:cNvPr>
            <p:cNvSpPr>
              <a:spLocks noChangeAspect="1" noChangeArrowheads="1" noTextEdit="1"/>
            </p:cNvSpPr>
            <p:nvPr/>
          </p:nvSpPr>
          <p:spPr bwMode="auto">
            <a:xfrm>
              <a:off x="2975" y="1344"/>
              <a:ext cx="1730" cy="1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29" name="Freeform 28">
              <a:extLst>
                <a:ext uri="{FF2B5EF4-FFF2-40B4-BE49-F238E27FC236}">
                  <a16:creationId xmlns:a16="http://schemas.microsoft.com/office/drawing/2014/main" id="{A6823E68-A0CA-6844-90DF-3324072EB94C}"/>
                </a:ext>
              </a:extLst>
            </p:cNvPr>
            <p:cNvSpPr>
              <a:spLocks noEditPoints="1"/>
            </p:cNvSpPr>
            <p:nvPr/>
          </p:nvSpPr>
          <p:spPr bwMode="auto">
            <a:xfrm>
              <a:off x="2975" y="1895"/>
              <a:ext cx="1080" cy="1081"/>
            </a:xfrm>
            <a:custGeom>
              <a:avLst/>
              <a:gdLst>
                <a:gd name="T0" fmla="*/ 1042 w 1080"/>
                <a:gd name="T1" fmla="*/ 294 h 1081"/>
                <a:gd name="T2" fmla="*/ 960 w 1080"/>
                <a:gd name="T3" fmla="*/ 268 h 1081"/>
                <a:gd name="T4" fmla="*/ 858 w 1080"/>
                <a:gd name="T5" fmla="*/ 222 h 1081"/>
                <a:gd name="T6" fmla="*/ 814 w 1080"/>
                <a:gd name="T7" fmla="*/ 142 h 1081"/>
                <a:gd name="T8" fmla="*/ 818 w 1080"/>
                <a:gd name="T9" fmla="*/ 54 h 1081"/>
                <a:gd name="T10" fmla="*/ 686 w 1080"/>
                <a:gd name="T11" fmla="*/ 0 h 1081"/>
                <a:gd name="T12" fmla="*/ 606 w 1080"/>
                <a:gd name="T13" fmla="*/ 76 h 1081"/>
                <a:gd name="T14" fmla="*/ 516 w 1080"/>
                <a:gd name="T15" fmla="*/ 88 h 1081"/>
                <a:gd name="T16" fmla="*/ 418 w 1080"/>
                <a:gd name="T17" fmla="*/ 36 h 1081"/>
                <a:gd name="T18" fmla="*/ 324 w 1080"/>
                <a:gd name="T19" fmla="*/ 22 h 1081"/>
                <a:gd name="T20" fmla="*/ 268 w 1080"/>
                <a:gd name="T21" fmla="*/ 98 h 1081"/>
                <a:gd name="T22" fmla="*/ 236 w 1080"/>
                <a:gd name="T23" fmla="*/ 204 h 1081"/>
                <a:gd name="T24" fmla="*/ 162 w 1080"/>
                <a:gd name="T25" fmla="*/ 258 h 1081"/>
                <a:gd name="T26" fmla="*/ 54 w 1080"/>
                <a:gd name="T27" fmla="*/ 262 h 1081"/>
                <a:gd name="T28" fmla="*/ 0 w 1080"/>
                <a:gd name="T29" fmla="*/ 394 h 1081"/>
                <a:gd name="T30" fmla="*/ 64 w 1080"/>
                <a:gd name="T31" fmla="*/ 452 h 1081"/>
                <a:gd name="T32" fmla="*/ 88 w 1080"/>
                <a:gd name="T33" fmla="*/ 540 h 1081"/>
                <a:gd name="T34" fmla="*/ 50 w 1080"/>
                <a:gd name="T35" fmla="*/ 646 h 1081"/>
                <a:gd name="T36" fmla="*/ 10 w 1080"/>
                <a:gd name="T37" fmla="*/ 723 h 1081"/>
                <a:gd name="T38" fmla="*/ 76 w 1080"/>
                <a:gd name="T39" fmla="*/ 813 h 1081"/>
                <a:gd name="T40" fmla="*/ 184 w 1080"/>
                <a:gd name="T41" fmla="*/ 831 h 1081"/>
                <a:gd name="T42" fmla="*/ 248 w 1080"/>
                <a:gd name="T43" fmla="*/ 897 h 1081"/>
                <a:gd name="T44" fmla="*/ 266 w 1080"/>
                <a:gd name="T45" fmla="*/ 1005 h 1081"/>
                <a:gd name="T46" fmla="*/ 358 w 1080"/>
                <a:gd name="T47" fmla="*/ 1071 h 1081"/>
                <a:gd name="T48" fmla="*/ 434 w 1080"/>
                <a:gd name="T49" fmla="*/ 1029 h 1081"/>
                <a:gd name="T50" fmla="*/ 540 w 1080"/>
                <a:gd name="T51" fmla="*/ 991 h 1081"/>
                <a:gd name="T52" fmla="*/ 626 w 1080"/>
                <a:gd name="T53" fmla="*/ 1017 h 1081"/>
                <a:gd name="T54" fmla="*/ 686 w 1080"/>
                <a:gd name="T55" fmla="*/ 1081 h 1081"/>
                <a:gd name="T56" fmla="*/ 818 w 1080"/>
                <a:gd name="T57" fmla="*/ 1027 h 1081"/>
                <a:gd name="T58" fmla="*/ 820 w 1080"/>
                <a:gd name="T59" fmla="*/ 917 h 1081"/>
                <a:gd name="T60" fmla="*/ 876 w 1080"/>
                <a:gd name="T61" fmla="*/ 845 h 1081"/>
                <a:gd name="T62" fmla="*/ 982 w 1080"/>
                <a:gd name="T63" fmla="*/ 811 h 1081"/>
                <a:gd name="T64" fmla="*/ 1056 w 1080"/>
                <a:gd name="T65" fmla="*/ 755 h 1081"/>
                <a:gd name="T66" fmla="*/ 1044 w 1080"/>
                <a:gd name="T67" fmla="*/ 662 h 1081"/>
                <a:gd name="T68" fmla="*/ 992 w 1080"/>
                <a:gd name="T69" fmla="*/ 564 h 1081"/>
                <a:gd name="T70" fmla="*/ 1004 w 1080"/>
                <a:gd name="T71" fmla="*/ 472 h 1081"/>
                <a:gd name="T72" fmla="*/ 1080 w 1080"/>
                <a:gd name="T73" fmla="*/ 394 h 1081"/>
                <a:gd name="T74" fmla="*/ 506 w 1080"/>
                <a:gd name="T75" fmla="*/ 703 h 1081"/>
                <a:gd name="T76" fmla="*/ 434 w 1080"/>
                <a:gd name="T77" fmla="*/ 668 h 1081"/>
                <a:gd name="T78" fmla="*/ 386 w 1080"/>
                <a:gd name="T79" fmla="*/ 604 h 1081"/>
                <a:gd name="T80" fmla="*/ 374 w 1080"/>
                <a:gd name="T81" fmla="*/ 540 h 1081"/>
                <a:gd name="T82" fmla="*/ 394 w 1080"/>
                <a:gd name="T83" fmla="*/ 462 h 1081"/>
                <a:gd name="T84" fmla="*/ 446 w 1080"/>
                <a:gd name="T85" fmla="*/ 402 h 1081"/>
                <a:gd name="T86" fmla="*/ 522 w 1080"/>
                <a:gd name="T87" fmla="*/ 376 h 1081"/>
                <a:gd name="T88" fmla="*/ 588 w 1080"/>
                <a:gd name="T89" fmla="*/ 382 h 1081"/>
                <a:gd name="T90" fmla="*/ 656 w 1080"/>
                <a:gd name="T91" fmla="*/ 424 h 1081"/>
                <a:gd name="T92" fmla="*/ 698 w 1080"/>
                <a:gd name="T93" fmla="*/ 490 h 1081"/>
                <a:gd name="T94" fmla="*/ 704 w 1080"/>
                <a:gd name="T95" fmla="*/ 556 h 1081"/>
                <a:gd name="T96" fmla="*/ 676 w 1080"/>
                <a:gd name="T97" fmla="*/ 632 h 1081"/>
                <a:gd name="T98" fmla="*/ 618 w 1080"/>
                <a:gd name="T99" fmla="*/ 687 h 1081"/>
                <a:gd name="T100" fmla="*/ 540 w 1080"/>
                <a:gd name="T101" fmla="*/ 707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80" h="1081">
                  <a:moveTo>
                    <a:pt x="1080" y="394"/>
                  </a:moveTo>
                  <a:lnTo>
                    <a:pt x="1080" y="394"/>
                  </a:lnTo>
                  <a:lnTo>
                    <a:pt x="1070" y="358"/>
                  </a:lnTo>
                  <a:lnTo>
                    <a:pt x="1056" y="326"/>
                  </a:lnTo>
                  <a:lnTo>
                    <a:pt x="1042" y="294"/>
                  </a:lnTo>
                  <a:lnTo>
                    <a:pt x="1026" y="262"/>
                  </a:lnTo>
                  <a:lnTo>
                    <a:pt x="1026" y="262"/>
                  </a:lnTo>
                  <a:lnTo>
                    <a:pt x="1004" y="268"/>
                  </a:lnTo>
                  <a:lnTo>
                    <a:pt x="982" y="270"/>
                  </a:lnTo>
                  <a:lnTo>
                    <a:pt x="960" y="268"/>
                  </a:lnTo>
                  <a:lnTo>
                    <a:pt x="938" y="266"/>
                  </a:lnTo>
                  <a:lnTo>
                    <a:pt x="916" y="258"/>
                  </a:lnTo>
                  <a:lnTo>
                    <a:pt x="896" y="250"/>
                  </a:lnTo>
                  <a:lnTo>
                    <a:pt x="876" y="236"/>
                  </a:lnTo>
                  <a:lnTo>
                    <a:pt x="858" y="222"/>
                  </a:lnTo>
                  <a:lnTo>
                    <a:pt x="858" y="222"/>
                  </a:lnTo>
                  <a:lnTo>
                    <a:pt x="842" y="204"/>
                  </a:lnTo>
                  <a:lnTo>
                    <a:pt x="830" y="184"/>
                  </a:lnTo>
                  <a:lnTo>
                    <a:pt x="820" y="164"/>
                  </a:lnTo>
                  <a:lnTo>
                    <a:pt x="814" y="142"/>
                  </a:lnTo>
                  <a:lnTo>
                    <a:pt x="810" y="120"/>
                  </a:lnTo>
                  <a:lnTo>
                    <a:pt x="810" y="98"/>
                  </a:lnTo>
                  <a:lnTo>
                    <a:pt x="812" y="76"/>
                  </a:lnTo>
                  <a:lnTo>
                    <a:pt x="818" y="54"/>
                  </a:lnTo>
                  <a:lnTo>
                    <a:pt x="818" y="54"/>
                  </a:lnTo>
                  <a:lnTo>
                    <a:pt x="786" y="38"/>
                  </a:lnTo>
                  <a:lnTo>
                    <a:pt x="754" y="22"/>
                  </a:lnTo>
                  <a:lnTo>
                    <a:pt x="720" y="10"/>
                  </a:lnTo>
                  <a:lnTo>
                    <a:pt x="686" y="0"/>
                  </a:lnTo>
                  <a:lnTo>
                    <a:pt x="686" y="0"/>
                  </a:lnTo>
                  <a:lnTo>
                    <a:pt x="674" y="18"/>
                  </a:lnTo>
                  <a:lnTo>
                    <a:pt x="660" y="36"/>
                  </a:lnTo>
                  <a:lnTo>
                    <a:pt x="644" y="52"/>
                  </a:lnTo>
                  <a:lnTo>
                    <a:pt x="626" y="64"/>
                  </a:lnTo>
                  <a:lnTo>
                    <a:pt x="606" y="76"/>
                  </a:lnTo>
                  <a:lnTo>
                    <a:pt x="586" y="82"/>
                  </a:lnTo>
                  <a:lnTo>
                    <a:pt x="562" y="88"/>
                  </a:lnTo>
                  <a:lnTo>
                    <a:pt x="540" y="90"/>
                  </a:lnTo>
                  <a:lnTo>
                    <a:pt x="540" y="90"/>
                  </a:lnTo>
                  <a:lnTo>
                    <a:pt x="516" y="88"/>
                  </a:lnTo>
                  <a:lnTo>
                    <a:pt x="494" y="82"/>
                  </a:lnTo>
                  <a:lnTo>
                    <a:pt x="472" y="76"/>
                  </a:lnTo>
                  <a:lnTo>
                    <a:pt x="452" y="64"/>
                  </a:lnTo>
                  <a:lnTo>
                    <a:pt x="434" y="52"/>
                  </a:lnTo>
                  <a:lnTo>
                    <a:pt x="418" y="36"/>
                  </a:lnTo>
                  <a:lnTo>
                    <a:pt x="404" y="18"/>
                  </a:lnTo>
                  <a:lnTo>
                    <a:pt x="392" y="0"/>
                  </a:lnTo>
                  <a:lnTo>
                    <a:pt x="392" y="0"/>
                  </a:lnTo>
                  <a:lnTo>
                    <a:pt x="358" y="10"/>
                  </a:lnTo>
                  <a:lnTo>
                    <a:pt x="324" y="22"/>
                  </a:lnTo>
                  <a:lnTo>
                    <a:pt x="292" y="38"/>
                  </a:lnTo>
                  <a:lnTo>
                    <a:pt x="262" y="54"/>
                  </a:lnTo>
                  <a:lnTo>
                    <a:pt x="262" y="54"/>
                  </a:lnTo>
                  <a:lnTo>
                    <a:pt x="266" y="76"/>
                  </a:lnTo>
                  <a:lnTo>
                    <a:pt x="268" y="98"/>
                  </a:lnTo>
                  <a:lnTo>
                    <a:pt x="268" y="120"/>
                  </a:lnTo>
                  <a:lnTo>
                    <a:pt x="264" y="142"/>
                  </a:lnTo>
                  <a:lnTo>
                    <a:pt x="258" y="164"/>
                  </a:lnTo>
                  <a:lnTo>
                    <a:pt x="248" y="184"/>
                  </a:lnTo>
                  <a:lnTo>
                    <a:pt x="236" y="204"/>
                  </a:lnTo>
                  <a:lnTo>
                    <a:pt x="220" y="222"/>
                  </a:lnTo>
                  <a:lnTo>
                    <a:pt x="220" y="222"/>
                  </a:lnTo>
                  <a:lnTo>
                    <a:pt x="202" y="236"/>
                  </a:lnTo>
                  <a:lnTo>
                    <a:pt x="184" y="250"/>
                  </a:lnTo>
                  <a:lnTo>
                    <a:pt x="162" y="258"/>
                  </a:lnTo>
                  <a:lnTo>
                    <a:pt x="142" y="266"/>
                  </a:lnTo>
                  <a:lnTo>
                    <a:pt x="120" y="270"/>
                  </a:lnTo>
                  <a:lnTo>
                    <a:pt x="98" y="270"/>
                  </a:lnTo>
                  <a:lnTo>
                    <a:pt x="76" y="268"/>
                  </a:lnTo>
                  <a:lnTo>
                    <a:pt x="54" y="262"/>
                  </a:lnTo>
                  <a:lnTo>
                    <a:pt x="54" y="262"/>
                  </a:lnTo>
                  <a:lnTo>
                    <a:pt x="38" y="294"/>
                  </a:lnTo>
                  <a:lnTo>
                    <a:pt x="22" y="326"/>
                  </a:lnTo>
                  <a:lnTo>
                    <a:pt x="10" y="358"/>
                  </a:lnTo>
                  <a:lnTo>
                    <a:pt x="0" y="394"/>
                  </a:lnTo>
                  <a:lnTo>
                    <a:pt x="0" y="394"/>
                  </a:lnTo>
                  <a:lnTo>
                    <a:pt x="18" y="404"/>
                  </a:lnTo>
                  <a:lnTo>
                    <a:pt x="36" y="418"/>
                  </a:lnTo>
                  <a:lnTo>
                    <a:pt x="50" y="434"/>
                  </a:lnTo>
                  <a:lnTo>
                    <a:pt x="64" y="452"/>
                  </a:lnTo>
                  <a:lnTo>
                    <a:pt x="74" y="472"/>
                  </a:lnTo>
                  <a:lnTo>
                    <a:pt x="82" y="494"/>
                  </a:lnTo>
                  <a:lnTo>
                    <a:pt x="88" y="516"/>
                  </a:lnTo>
                  <a:lnTo>
                    <a:pt x="88" y="540"/>
                  </a:lnTo>
                  <a:lnTo>
                    <a:pt x="88" y="540"/>
                  </a:lnTo>
                  <a:lnTo>
                    <a:pt x="88" y="564"/>
                  </a:lnTo>
                  <a:lnTo>
                    <a:pt x="82" y="586"/>
                  </a:lnTo>
                  <a:lnTo>
                    <a:pt x="74" y="608"/>
                  </a:lnTo>
                  <a:lnTo>
                    <a:pt x="64" y="628"/>
                  </a:lnTo>
                  <a:lnTo>
                    <a:pt x="50" y="646"/>
                  </a:lnTo>
                  <a:lnTo>
                    <a:pt x="36" y="662"/>
                  </a:lnTo>
                  <a:lnTo>
                    <a:pt x="18" y="677"/>
                  </a:lnTo>
                  <a:lnTo>
                    <a:pt x="0" y="687"/>
                  </a:lnTo>
                  <a:lnTo>
                    <a:pt x="0" y="687"/>
                  </a:lnTo>
                  <a:lnTo>
                    <a:pt x="10" y="723"/>
                  </a:lnTo>
                  <a:lnTo>
                    <a:pt x="22" y="755"/>
                  </a:lnTo>
                  <a:lnTo>
                    <a:pt x="36" y="787"/>
                  </a:lnTo>
                  <a:lnTo>
                    <a:pt x="54" y="819"/>
                  </a:lnTo>
                  <a:lnTo>
                    <a:pt x="54" y="819"/>
                  </a:lnTo>
                  <a:lnTo>
                    <a:pt x="76" y="813"/>
                  </a:lnTo>
                  <a:lnTo>
                    <a:pt x="98" y="811"/>
                  </a:lnTo>
                  <a:lnTo>
                    <a:pt x="120" y="813"/>
                  </a:lnTo>
                  <a:lnTo>
                    <a:pt x="142" y="815"/>
                  </a:lnTo>
                  <a:lnTo>
                    <a:pt x="162" y="823"/>
                  </a:lnTo>
                  <a:lnTo>
                    <a:pt x="184" y="831"/>
                  </a:lnTo>
                  <a:lnTo>
                    <a:pt x="202" y="845"/>
                  </a:lnTo>
                  <a:lnTo>
                    <a:pt x="220" y="859"/>
                  </a:lnTo>
                  <a:lnTo>
                    <a:pt x="220" y="859"/>
                  </a:lnTo>
                  <a:lnTo>
                    <a:pt x="236" y="877"/>
                  </a:lnTo>
                  <a:lnTo>
                    <a:pt x="248" y="897"/>
                  </a:lnTo>
                  <a:lnTo>
                    <a:pt x="258" y="917"/>
                  </a:lnTo>
                  <a:lnTo>
                    <a:pt x="264" y="939"/>
                  </a:lnTo>
                  <a:lnTo>
                    <a:pt x="268" y="961"/>
                  </a:lnTo>
                  <a:lnTo>
                    <a:pt x="268" y="983"/>
                  </a:lnTo>
                  <a:lnTo>
                    <a:pt x="266" y="1005"/>
                  </a:lnTo>
                  <a:lnTo>
                    <a:pt x="262" y="1027"/>
                  </a:lnTo>
                  <a:lnTo>
                    <a:pt x="262" y="1027"/>
                  </a:lnTo>
                  <a:lnTo>
                    <a:pt x="292" y="1043"/>
                  </a:lnTo>
                  <a:lnTo>
                    <a:pt x="324" y="1059"/>
                  </a:lnTo>
                  <a:lnTo>
                    <a:pt x="358" y="1071"/>
                  </a:lnTo>
                  <a:lnTo>
                    <a:pt x="392" y="1081"/>
                  </a:lnTo>
                  <a:lnTo>
                    <a:pt x="392" y="1081"/>
                  </a:lnTo>
                  <a:lnTo>
                    <a:pt x="404" y="1063"/>
                  </a:lnTo>
                  <a:lnTo>
                    <a:pt x="418" y="1045"/>
                  </a:lnTo>
                  <a:lnTo>
                    <a:pt x="434" y="1029"/>
                  </a:lnTo>
                  <a:lnTo>
                    <a:pt x="452" y="1017"/>
                  </a:lnTo>
                  <a:lnTo>
                    <a:pt x="472" y="1007"/>
                  </a:lnTo>
                  <a:lnTo>
                    <a:pt x="494" y="999"/>
                  </a:lnTo>
                  <a:lnTo>
                    <a:pt x="516" y="993"/>
                  </a:lnTo>
                  <a:lnTo>
                    <a:pt x="540" y="991"/>
                  </a:lnTo>
                  <a:lnTo>
                    <a:pt x="540" y="991"/>
                  </a:lnTo>
                  <a:lnTo>
                    <a:pt x="562" y="993"/>
                  </a:lnTo>
                  <a:lnTo>
                    <a:pt x="586" y="999"/>
                  </a:lnTo>
                  <a:lnTo>
                    <a:pt x="606" y="1007"/>
                  </a:lnTo>
                  <a:lnTo>
                    <a:pt x="626" y="1017"/>
                  </a:lnTo>
                  <a:lnTo>
                    <a:pt x="644" y="1029"/>
                  </a:lnTo>
                  <a:lnTo>
                    <a:pt x="660" y="1045"/>
                  </a:lnTo>
                  <a:lnTo>
                    <a:pt x="674" y="1063"/>
                  </a:lnTo>
                  <a:lnTo>
                    <a:pt x="686" y="1081"/>
                  </a:lnTo>
                  <a:lnTo>
                    <a:pt x="686" y="1081"/>
                  </a:lnTo>
                  <a:lnTo>
                    <a:pt x="720" y="1071"/>
                  </a:lnTo>
                  <a:lnTo>
                    <a:pt x="754" y="1059"/>
                  </a:lnTo>
                  <a:lnTo>
                    <a:pt x="786" y="1043"/>
                  </a:lnTo>
                  <a:lnTo>
                    <a:pt x="818" y="1027"/>
                  </a:lnTo>
                  <a:lnTo>
                    <a:pt x="818" y="1027"/>
                  </a:lnTo>
                  <a:lnTo>
                    <a:pt x="812" y="1005"/>
                  </a:lnTo>
                  <a:lnTo>
                    <a:pt x="810" y="983"/>
                  </a:lnTo>
                  <a:lnTo>
                    <a:pt x="810" y="961"/>
                  </a:lnTo>
                  <a:lnTo>
                    <a:pt x="814" y="939"/>
                  </a:lnTo>
                  <a:lnTo>
                    <a:pt x="820" y="917"/>
                  </a:lnTo>
                  <a:lnTo>
                    <a:pt x="830" y="897"/>
                  </a:lnTo>
                  <a:lnTo>
                    <a:pt x="842" y="877"/>
                  </a:lnTo>
                  <a:lnTo>
                    <a:pt x="858" y="859"/>
                  </a:lnTo>
                  <a:lnTo>
                    <a:pt x="858" y="859"/>
                  </a:lnTo>
                  <a:lnTo>
                    <a:pt x="876" y="845"/>
                  </a:lnTo>
                  <a:lnTo>
                    <a:pt x="896" y="831"/>
                  </a:lnTo>
                  <a:lnTo>
                    <a:pt x="916" y="823"/>
                  </a:lnTo>
                  <a:lnTo>
                    <a:pt x="938" y="815"/>
                  </a:lnTo>
                  <a:lnTo>
                    <a:pt x="960" y="813"/>
                  </a:lnTo>
                  <a:lnTo>
                    <a:pt x="982" y="811"/>
                  </a:lnTo>
                  <a:lnTo>
                    <a:pt x="1004" y="813"/>
                  </a:lnTo>
                  <a:lnTo>
                    <a:pt x="1026" y="819"/>
                  </a:lnTo>
                  <a:lnTo>
                    <a:pt x="1026" y="819"/>
                  </a:lnTo>
                  <a:lnTo>
                    <a:pt x="1042" y="787"/>
                  </a:lnTo>
                  <a:lnTo>
                    <a:pt x="1056" y="755"/>
                  </a:lnTo>
                  <a:lnTo>
                    <a:pt x="1070" y="723"/>
                  </a:lnTo>
                  <a:lnTo>
                    <a:pt x="1080" y="687"/>
                  </a:lnTo>
                  <a:lnTo>
                    <a:pt x="1080" y="687"/>
                  </a:lnTo>
                  <a:lnTo>
                    <a:pt x="1060" y="677"/>
                  </a:lnTo>
                  <a:lnTo>
                    <a:pt x="1044" y="662"/>
                  </a:lnTo>
                  <a:lnTo>
                    <a:pt x="1028" y="646"/>
                  </a:lnTo>
                  <a:lnTo>
                    <a:pt x="1014" y="628"/>
                  </a:lnTo>
                  <a:lnTo>
                    <a:pt x="1004" y="608"/>
                  </a:lnTo>
                  <a:lnTo>
                    <a:pt x="996" y="586"/>
                  </a:lnTo>
                  <a:lnTo>
                    <a:pt x="992" y="564"/>
                  </a:lnTo>
                  <a:lnTo>
                    <a:pt x="990" y="540"/>
                  </a:lnTo>
                  <a:lnTo>
                    <a:pt x="990" y="540"/>
                  </a:lnTo>
                  <a:lnTo>
                    <a:pt x="992" y="516"/>
                  </a:lnTo>
                  <a:lnTo>
                    <a:pt x="996" y="494"/>
                  </a:lnTo>
                  <a:lnTo>
                    <a:pt x="1004" y="472"/>
                  </a:lnTo>
                  <a:lnTo>
                    <a:pt x="1014" y="452"/>
                  </a:lnTo>
                  <a:lnTo>
                    <a:pt x="1028" y="434"/>
                  </a:lnTo>
                  <a:lnTo>
                    <a:pt x="1044" y="418"/>
                  </a:lnTo>
                  <a:lnTo>
                    <a:pt x="1060" y="404"/>
                  </a:lnTo>
                  <a:lnTo>
                    <a:pt x="1080" y="394"/>
                  </a:lnTo>
                  <a:lnTo>
                    <a:pt x="1080" y="394"/>
                  </a:lnTo>
                  <a:close/>
                  <a:moveTo>
                    <a:pt x="540" y="707"/>
                  </a:moveTo>
                  <a:lnTo>
                    <a:pt x="540" y="707"/>
                  </a:lnTo>
                  <a:lnTo>
                    <a:pt x="522" y="705"/>
                  </a:lnTo>
                  <a:lnTo>
                    <a:pt x="506" y="703"/>
                  </a:lnTo>
                  <a:lnTo>
                    <a:pt x="490" y="699"/>
                  </a:lnTo>
                  <a:lnTo>
                    <a:pt x="474" y="693"/>
                  </a:lnTo>
                  <a:lnTo>
                    <a:pt x="460" y="687"/>
                  </a:lnTo>
                  <a:lnTo>
                    <a:pt x="446" y="679"/>
                  </a:lnTo>
                  <a:lnTo>
                    <a:pt x="434" y="668"/>
                  </a:lnTo>
                  <a:lnTo>
                    <a:pt x="422" y="658"/>
                  </a:lnTo>
                  <a:lnTo>
                    <a:pt x="412" y="646"/>
                  </a:lnTo>
                  <a:lnTo>
                    <a:pt x="402" y="632"/>
                  </a:lnTo>
                  <a:lnTo>
                    <a:pt x="394" y="618"/>
                  </a:lnTo>
                  <a:lnTo>
                    <a:pt x="386" y="604"/>
                  </a:lnTo>
                  <a:lnTo>
                    <a:pt x="382" y="590"/>
                  </a:lnTo>
                  <a:lnTo>
                    <a:pt x="378" y="574"/>
                  </a:lnTo>
                  <a:lnTo>
                    <a:pt x="374" y="556"/>
                  </a:lnTo>
                  <a:lnTo>
                    <a:pt x="374" y="540"/>
                  </a:lnTo>
                  <a:lnTo>
                    <a:pt x="374" y="540"/>
                  </a:lnTo>
                  <a:lnTo>
                    <a:pt x="374" y="524"/>
                  </a:lnTo>
                  <a:lnTo>
                    <a:pt x="378" y="506"/>
                  </a:lnTo>
                  <a:lnTo>
                    <a:pt x="382" y="490"/>
                  </a:lnTo>
                  <a:lnTo>
                    <a:pt x="386" y="476"/>
                  </a:lnTo>
                  <a:lnTo>
                    <a:pt x="394" y="462"/>
                  </a:lnTo>
                  <a:lnTo>
                    <a:pt x="402" y="448"/>
                  </a:lnTo>
                  <a:lnTo>
                    <a:pt x="412" y="434"/>
                  </a:lnTo>
                  <a:lnTo>
                    <a:pt x="422" y="424"/>
                  </a:lnTo>
                  <a:lnTo>
                    <a:pt x="434" y="412"/>
                  </a:lnTo>
                  <a:lnTo>
                    <a:pt x="446" y="402"/>
                  </a:lnTo>
                  <a:lnTo>
                    <a:pt x="460" y="394"/>
                  </a:lnTo>
                  <a:lnTo>
                    <a:pt x="474" y="388"/>
                  </a:lnTo>
                  <a:lnTo>
                    <a:pt x="490" y="382"/>
                  </a:lnTo>
                  <a:lnTo>
                    <a:pt x="506" y="378"/>
                  </a:lnTo>
                  <a:lnTo>
                    <a:pt x="522" y="376"/>
                  </a:lnTo>
                  <a:lnTo>
                    <a:pt x="540" y="374"/>
                  </a:lnTo>
                  <a:lnTo>
                    <a:pt x="540" y="374"/>
                  </a:lnTo>
                  <a:lnTo>
                    <a:pt x="556" y="376"/>
                  </a:lnTo>
                  <a:lnTo>
                    <a:pt x="572" y="378"/>
                  </a:lnTo>
                  <a:lnTo>
                    <a:pt x="588" y="382"/>
                  </a:lnTo>
                  <a:lnTo>
                    <a:pt x="604" y="388"/>
                  </a:lnTo>
                  <a:lnTo>
                    <a:pt x="618" y="394"/>
                  </a:lnTo>
                  <a:lnTo>
                    <a:pt x="632" y="402"/>
                  </a:lnTo>
                  <a:lnTo>
                    <a:pt x="644" y="412"/>
                  </a:lnTo>
                  <a:lnTo>
                    <a:pt x="656" y="424"/>
                  </a:lnTo>
                  <a:lnTo>
                    <a:pt x="668" y="434"/>
                  </a:lnTo>
                  <a:lnTo>
                    <a:pt x="676" y="448"/>
                  </a:lnTo>
                  <a:lnTo>
                    <a:pt x="684" y="462"/>
                  </a:lnTo>
                  <a:lnTo>
                    <a:pt x="692" y="476"/>
                  </a:lnTo>
                  <a:lnTo>
                    <a:pt x="698" y="490"/>
                  </a:lnTo>
                  <a:lnTo>
                    <a:pt x="702" y="506"/>
                  </a:lnTo>
                  <a:lnTo>
                    <a:pt x="704" y="524"/>
                  </a:lnTo>
                  <a:lnTo>
                    <a:pt x="704" y="540"/>
                  </a:lnTo>
                  <a:lnTo>
                    <a:pt x="704" y="540"/>
                  </a:lnTo>
                  <a:lnTo>
                    <a:pt x="704" y="556"/>
                  </a:lnTo>
                  <a:lnTo>
                    <a:pt x="702" y="574"/>
                  </a:lnTo>
                  <a:lnTo>
                    <a:pt x="698" y="590"/>
                  </a:lnTo>
                  <a:lnTo>
                    <a:pt x="692" y="604"/>
                  </a:lnTo>
                  <a:lnTo>
                    <a:pt x="684" y="618"/>
                  </a:lnTo>
                  <a:lnTo>
                    <a:pt x="676" y="632"/>
                  </a:lnTo>
                  <a:lnTo>
                    <a:pt x="668" y="646"/>
                  </a:lnTo>
                  <a:lnTo>
                    <a:pt x="656" y="658"/>
                  </a:lnTo>
                  <a:lnTo>
                    <a:pt x="644" y="668"/>
                  </a:lnTo>
                  <a:lnTo>
                    <a:pt x="632" y="679"/>
                  </a:lnTo>
                  <a:lnTo>
                    <a:pt x="618" y="687"/>
                  </a:lnTo>
                  <a:lnTo>
                    <a:pt x="604" y="693"/>
                  </a:lnTo>
                  <a:lnTo>
                    <a:pt x="588" y="699"/>
                  </a:lnTo>
                  <a:lnTo>
                    <a:pt x="572" y="703"/>
                  </a:lnTo>
                  <a:lnTo>
                    <a:pt x="556" y="705"/>
                  </a:lnTo>
                  <a:lnTo>
                    <a:pt x="540" y="707"/>
                  </a:lnTo>
                  <a:lnTo>
                    <a:pt x="540" y="7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0" name="Rectangle 29">
              <a:extLst>
                <a:ext uri="{FF2B5EF4-FFF2-40B4-BE49-F238E27FC236}">
                  <a16:creationId xmlns:a16="http://schemas.microsoft.com/office/drawing/2014/main" id="{4C33DAC2-24AE-3E40-961A-3622DB4983F1}"/>
                </a:ext>
              </a:extLst>
            </p:cNvPr>
            <p:cNvSpPr>
              <a:spLocks noChangeArrowheads="1"/>
            </p:cNvSpPr>
            <p:nvPr/>
          </p:nvSpPr>
          <p:spPr bwMode="auto">
            <a:xfrm>
              <a:off x="4193" y="2782"/>
              <a:ext cx="1" cy="1"/>
            </a:xfrm>
            <a:prstGeom prst="rect">
              <a:avLst/>
            </a:prstGeom>
            <a:solidFill>
              <a:srgbClr val="231F2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1" name="Freeform 30">
              <a:extLst>
                <a:ext uri="{FF2B5EF4-FFF2-40B4-BE49-F238E27FC236}">
                  <a16:creationId xmlns:a16="http://schemas.microsoft.com/office/drawing/2014/main" id="{359A5D3C-6A01-444B-9E04-AA2FB5D492AF}"/>
                </a:ext>
              </a:extLst>
            </p:cNvPr>
            <p:cNvSpPr>
              <a:spLocks noEditPoints="1"/>
            </p:cNvSpPr>
            <p:nvPr/>
          </p:nvSpPr>
          <p:spPr bwMode="auto">
            <a:xfrm>
              <a:off x="3789" y="1344"/>
              <a:ext cx="808" cy="807"/>
            </a:xfrm>
            <a:custGeom>
              <a:avLst/>
              <a:gdLst>
                <a:gd name="T0" fmla="*/ 404 w 808"/>
                <a:gd name="T1" fmla="*/ 807 h 807"/>
                <a:gd name="T2" fmla="*/ 458 w 808"/>
                <a:gd name="T3" fmla="*/ 789 h 807"/>
                <a:gd name="T4" fmla="*/ 488 w 808"/>
                <a:gd name="T5" fmla="*/ 733 h 807"/>
                <a:gd name="T6" fmla="*/ 528 w 808"/>
                <a:gd name="T7" fmla="*/ 705 h 807"/>
                <a:gd name="T8" fmla="*/ 594 w 808"/>
                <a:gd name="T9" fmla="*/ 697 h 807"/>
                <a:gd name="T10" fmla="*/ 652 w 808"/>
                <a:gd name="T11" fmla="*/ 723 h 807"/>
                <a:gd name="T12" fmla="*/ 708 w 808"/>
                <a:gd name="T13" fmla="*/ 671 h 807"/>
                <a:gd name="T14" fmla="*/ 706 w 808"/>
                <a:gd name="T15" fmla="*/ 625 h 807"/>
                <a:gd name="T16" fmla="*/ 696 w 808"/>
                <a:gd name="T17" fmla="*/ 561 h 807"/>
                <a:gd name="T18" fmla="*/ 712 w 808"/>
                <a:gd name="T19" fmla="*/ 513 h 807"/>
                <a:gd name="T20" fmla="*/ 758 w 808"/>
                <a:gd name="T21" fmla="*/ 469 h 807"/>
                <a:gd name="T22" fmla="*/ 804 w 808"/>
                <a:gd name="T23" fmla="*/ 455 h 807"/>
                <a:gd name="T24" fmla="*/ 804 w 808"/>
                <a:gd name="T25" fmla="*/ 352 h 807"/>
                <a:gd name="T26" fmla="*/ 758 w 808"/>
                <a:gd name="T27" fmla="*/ 338 h 807"/>
                <a:gd name="T28" fmla="*/ 712 w 808"/>
                <a:gd name="T29" fmla="*/ 294 h 807"/>
                <a:gd name="T30" fmla="*/ 696 w 808"/>
                <a:gd name="T31" fmla="*/ 246 h 807"/>
                <a:gd name="T32" fmla="*/ 706 w 808"/>
                <a:gd name="T33" fmla="*/ 184 h 807"/>
                <a:gd name="T34" fmla="*/ 708 w 808"/>
                <a:gd name="T35" fmla="*/ 136 h 807"/>
                <a:gd name="T36" fmla="*/ 652 w 808"/>
                <a:gd name="T37" fmla="*/ 84 h 807"/>
                <a:gd name="T38" fmla="*/ 594 w 808"/>
                <a:gd name="T39" fmla="*/ 110 h 807"/>
                <a:gd name="T40" fmla="*/ 528 w 808"/>
                <a:gd name="T41" fmla="*/ 102 h 807"/>
                <a:gd name="T42" fmla="*/ 488 w 808"/>
                <a:gd name="T43" fmla="*/ 74 h 807"/>
                <a:gd name="T44" fmla="*/ 458 w 808"/>
                <a:gd name="T45" fmla="*/ 18 h 807"/>
                <a:gd name="T46" fmla="*/ 404 w 808"/>
                <a:gd name="T47" fmla="*/ 0 h 807"/>
                <a:gd name="T48" fmla="*/ 350 w 808"/>
                <a:gd name="T49" fmla="*/ 18 h 807"/>
                <a:gd name="T50" fmla="*/ 320 w 808"/>
                <a:gd name="T51" fmla="*/ 74 h 807"/>
                <a:gd name="T52" fmla="*/ 280 w 808"/>
                <a:gd name="T53" fmla="*/ 102 h 807"/>
                <a:gd name="T54" fmla="*/ 216 w 808"/>
                <a:gd name="T55" fmla="*/ 110 h 807"/>
                <a:gd name="T56" fmla="*/ 158 w 808"/>
                <a:gd name="T57" fmla="*/ 84 h 807"/>
                <a:gd name="T58" fmla="*/ 102 w 808"/>
                <a:gd name="T59" fmla="*/ 136 h 807"/>
                <a:gd name="T60" fmla="*/ 102 w 808"/>
                <a:gd name="T61" fmla="*/ 184 h 807"/>
                <a:gd name="T62" fmla="*/ 112 w 808"/>
                <a:gd name="T63" fmla="*/ 246 h 807"/>
                <a:gd name="T64" fmla="*/ 96 w 808"/>
                <a:gd name="T65" fmla="*/ 294 h 807"/>
                <a:gd name="T66" fmla="*/ 50 w 808"/>
                <a:gd name="T67" fmla="*/ 338 h 807"/>
                <a:gd name="T68" fmla="*/ 4 w 808"/>
                <a:gd name="T69" fmla="*/ 352 h 807"/>
                <a:gd name="T70" fmla="*/ 4 w 808"/>
                <a:gd name="T71" fmla="*/ 455 h 807"/>
                <a:gd name="T72" fmla="*/ 50 w 808"/>
                <a:gd name="T73" fmla="*/ 469 h 807"/>
                <a:gd name="T74" fmla="*/ 96 w 808"/>
                <a:gd name="T75" fmla="*/ 513 h 807"/>
                <a:gd name="T76" fmla="*/ 112 w 808"/>
                <a:gd name="T77" fmla="*/ 561 h 807"/>
                <a:gd name="T78" fmla="*/ 102 w 808"/>
                <a:gd name="T79" fmla="*/ 625 h 807"/>
                <a:gd name="T80" fmla="*/ 102 w 808"/>
                <a:gd name="T81" fmla="*/ 671 h 807"/>
                <a:gd name="T82" fmla="*/ 158 w 808"/>
                <a:gd name="T83" fmla="*/ 723 h 807"/>
                <a:gd name="T84" fmla="*/ 216 w 808"/>
                <a:gd name="T85" fmla="*/ 697 h 807"/>
                <a:gd name="T86" fmla="*/ 280 w 808"/>
                <a:gd name="T87" fmla="*/ 705 h 807"/>
                <a:gd name="T88" fmla="*/ 320 w 808"/>
                <a:gd name="T89" fmla="*/ 733 h 807"/>
                <a:gd name="T90" fmla="*/ 350 w 808"/>
                <a:gd name="T91" fmla="*/ 789 h 807"/>
                <a:gd name="T92" fmla="*/ 286 w 808"/>
                <a:gd name="T93" fmla="*/ 402 h 807"/>
                <a:gd name="T94" fmla="*/ 306 w 808"/>
                <a:gd name="T95" fmla="*/ 336 h 807"/>
                <a:gd name="T96" fmla="*/ 380 w 808"/>
                <a:gd name="T97" fmla="*/ 286 h 807"/>
                <a:gd name="T98" fmla="*/ 416 w 808"/>
                <a:gd name="T99" fmla="*/ 284 h 807"/>
                <a:gd name="T100" fmla="*/ 490 w 808"/>
                <a:gd name="T101" fmla="*/ 318 h 807"/>
                <a:gd name="T102" fmla="*/ 524 w 808"/>
                <a:gd name="T103" fmla="*/ 390 h 807"/>
                <a:gd name="T104" fmla="*/ 522 w 808"/>
                <a:gd name="T105" fmla="*/ 427 h 807"/>
                <a:gd name="T106" fmla="*/ 472 w 808"/>
                <a:gd name="T107" fmla="*/ 503 h 807"/>
                <a:gd name="T108" fmla="*/ 404 w 808"/>
                <a:gd name="T109" fmla="*/ 523 h 807"/>
                <a:gd name="T110" fmla="*/ 358 w 808"/>
                <a:gd name="T111" fmla="*/ 513 h 807"/>
                <a:gd name="T112" fmla="*/ 294 w 808"/>
                <a:gd name="T113" fmla="*/ 451 h 807"/>
                <a:gd name="T114" fmla="*/ 286 w 808"/>
                <a:gd name="T115" fmla="*/ 402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08" h="807">
                  <a:moveTo>
                    <a:pt x="354" y="805"/>
                  </a:moveTo>
                  <a:lnTo>
                    <a:pt x="354" y="805"/>
                  </a:lnTo>
                  <a:lnTo>
                    <a:pt x="378" y="807"/>
                  </a:lnTo>
                  <a:lnTo>
                    <a:pt x="404" y="807"/>
                  </a:lnTo>
                  <a:lnTo>
                    <a:pt x="430" y="807"/>
                  </a:lnTo>
                  <a:lnTo>
                    <a:pt x="456" y="805"/>
                  </a:lnTo>
                  <a:lnTo>
                    <a:pt x="456" y="805"/>
                  </a:lnTo>
                  <a:lnTo>
                    <a:pt x="458" y="789"/>
                  </a:lnTo>
                  <a:lnTo>
                    <a:pt x="462" y="773"/>
                  </a:lnTo>
                  <a:lnTo>
                    <a:pt x="470" y="759"/>
                  </a:lnTo>
                  <a:lnTo>
                    <a:pt x="478" y="745"/>
                  </a:lnTo>
                  <a:lnTo>
                    <a:pt x="488" y="733"/>
                  </a:lnTo>
                  <a:lnTo>
                    <a:pt x="500" y="721"/>
                  </a:lnTo>
                  <a:lnTo>
                    <a:pt x="514" y="713"/>
                  </a:lnTo>
                  <a:lnTo>
                    <a:pt x="528" y="705"/>
                  </a:lnTo>
                  <a:lnTo>
                    <a:pt x="528" y="705"/>
                  </a:lnTo>
                  <a:lnTo>
                    <a:pt x="544" y="699"/>
                  </a:lnTo>
                  <a:lnTo>
                    <a:pt x="562" y="697"/>
                  </a:lnTo>
                  <a:lnTo>
                    <a:pt x="578" y="695"/>
                  </a:lnTo>
                  <a:lnTo>
                    <a:pt x="594" y="697"/>
                  </a:lnTo>
                  <a:lnTo>
                    <a:pt x="610" y="701"/>
                  </a:lnTo>
                  <a:lnTo>
                    <a:pt x="624" y="707"/>
                  </a:lnTo>
                  <a:lnTo>
                    <a:pt x="638" y="713"/>
                  </a:lnTo>
                  <a:lnTo>
                    <a:pt x="652" y="723"/>
                  </a:lnTo>
                  <a:lnTo>
                    <a:pt x="652" y="723"/>
                  </a:lnTo>
                  <a:lnTo>
                    <a:pt x="672" y="707"/>
                  </a:lnTo>
                  <a:lnTo>
                    <a:pt x="690" y="689"/>
                  </a:lnTo>
                  <a:lnTo>
                    <a:pt x="708" y="671"/>
                  </a:lnTo>
                  <a:lnTo>
                    <a:pt x="724" y="651"/>
                  </a:lnTo>
                  <a:lnTo>
                    <a:pt x="724" y="651"/>
                  </a:lnTo>
                  <a:lnTo>
                    <a:pt x="714" y="639"/>
                  </a:lnTo>
                  <a:lnTo>
                    <a:pt x="706" y="625"/>
                  </a:lnTo>
                  <a:lnTo>
                    <a:pt x="700" y="609"/>
                  </a:lnTo>
                  <a:lnTo>
                    <a:pt x="698" y="593"/>
                  </a:lnTo>
                  <a:lnTo>
                    <a:pt x="696" y="577"/>
                  </a:lnTo>
                  <a:lnTo>
                    <a:pt x="696" y="561"/>
                  </a:lnTo>
                  <a:lnTo>
                    <a:pt x="700" y="545"/>
                  </a:lnTo>
                  <a:lnTo>
                    <a:pt x="704" y="529"/>
                  </a:lnTo>
                  <a:lnTo>
                    <a:pt x="704" y="529"/>
                  </a:lnTo>
                  <a:lnTo>
                    <a:pt x="712" y="513"/>
                  </a:lnTo>
                  <a:lnTo>
                    <a:pt x="722" y="499"/>
                  </a:lnTo>
                  <a:lnTo>
                    <a:pt x="732" y="487"/>
                  </a:lnTo>
                  <a:lnTo>
                    <a:pt x="746" y="477"/>
                  </a:lnTo>
                  <a:lnTo>
                    <a:pt x="758" y="469"/>
                  </a:lnTo>
                  <a:lnTo>
                    <a:pt x="774" y="463"/>
                  </a:lnTo>
                  <a:lnTo>
                    <a:pt x="788" y="457"/>
                  </a:lnTo>
                  <a:lnTo>
                    <a:pt x="804" y="455"/>
                  </a:lnTo>
                  <a:lnTo>
                    <a:pt x="804" y="455"/>
                  </a:lnTo>
                  <a:lnTo>
                    <a:pt x="808" y="431"/>
                  </a:lnTo>
                  <a:lnTo>
                    <a:pt x="808" y="404"/>
                  </a:lnTo>
                  <a:lnTo>
                    <a:pt x="808" y="378"/>
                  </a:lnTo>
                  <a:lnTo>
                    <a:pt x="804" y="352"/>
                  </a:lnTo>
                  <a:lnTo>
                    <a:pt x="804" y="352"/>
                  </a:lnTo>
                  <a:lnTo>
                    <a:pt x="788" y="350"/>
                  </a:lnTo>
                  <a:lnTo>
                    <a:pt x="774" y="344"/>
                  </a:lnTo>
                  <a:lnTo>
                    <a:pt x="758" y="338"/>
                  </a:lnTo>
                  <a:lnTo>
                    <a:pt x="746" y="330"/>
                  </a:lnTo>
                  <a:lnTo>
                    <a:pt x="732" y="320"/>
                  </a:lnTo>
                  <a:lnTo>
                    <a:pt x="722" y="308"/>
                  </a:lnTo>
                  <a:lnTo>
                    <a:pt x="712" y="294"/>
                  </a:lnTo>
                  <a:lnTo>
                    <a:pt x="704" y="278"/>
                  </a:lnTo>
                  <a:lnTo>
                    <a:pt x="704" y="278"/>
                  </a:lnTo>
                  <a:lnTo>
                    <a:pt x="700" y="262"/>
                  </a:lnTo>
                  <a:lnTo>
                    <a:pt x="696" y="246"/>
                  </a:lnTo>
                  <a:lnTo>
                    <a:pt x="696" y="230"/>
                  </a:lnTo>
                  <a:lnTo>
                    <a:pt x="698" y="214"/>
                  </a:lnTo>
                  <a:lnTo>
                    <a:pt x="700" y="198"/>
                  </a:lnTo>
                  <a:lnTo>
                    <a:pt x="706" y="184"/>
                  </a:lnTo>
                  <a:lnTo>
                    <a:pt x="714" y="170"/>
                  </a:lnTo>
                  <a:lnTo>
                    <a:pt x="724" y="156"/>
                  </a:lnTo>
                  <a:lnTo>
                    <a:pt x="724" y="156"/>
                  </a:lnTo>
                  <a:lnTo>
                    <a:pt x="708" y="136"/>
                  </a:lnTo>
                  <a:lnTo>
                    <a:pt x="690" y="118"/>
                  </a:lnTo>
                  <a:lnTo>
                    <a:pt x="672" y="100"/>
                  </a:lnTo>
                  <a:lnTo>
                    <a:pt x="652" y="84"/>
                  </a:lnTo>
                  <a:lnTo>
                    <a:pt x="652" y="84"/>
                  </a:lnTo>
                  <a:lnTo>
                    <a:pt x="638" y="94"/>
                  </a:lnTo>
                  <a:lnTo>
                    <a:pt x="624" y="100"/>
                  </a:lnTo>
                  <a:lnTo>
                    <a:pt x="610" y="106"/>
                  </a:lnTo>
                  <a:lnTo>
                    <a:pt x="594" y="110"/>
                  </a:lnTo>
                  <a:lnTo>
                    <a:pt x="578" y="112"/>
                  </a:lnTo>
                  <a:lnTo>
                    <a:pt x="562" y="112"/>
                  </a:lnTo>
                  <a:lnTo>
                    <a:pt x="544" y="108"/>
                  </a:lnTo>
                  <a:lnTo>
                    <a:pt x="528" y="102"/>
                  </a:lnTo>
                  <a:lnTo>
                    <a:pt x="528" y="102"/>
                  </a:lnTo>
                  <a:lnTo>
                    <a:pt x="514" y="96"/>
                  </a:lnTo>
                  <a:lnTo>
                    <a:pt x="500" y="86"/>
                  </a:lnTo>
                  <a:lnTo>
                    <a:pt x="488" y="74"/>
                  </a:lnTo>
                  <a:lnTo>
                    <a:pt x="478" y="62"/>
                  </a:lnTo>
                  <a:lnTo>
                    <a:pt x="470" y="48"/>
                  </a:lnTo>
                  <a:lnTo>
                    <a:pt x="462" y="34"/>
                  </a:lnTo>
                  <a:lnTo>
                    <a:pt x="458" y="18"/>
                  </a:lnTo>
                  <a:lnTo>
                    <a:pt x="456" y="2"/>
                  </a:lnTo>
                  <a:lnTo>
                    <a:pt x="456" y="2"/>
                  </a:lnTo>
                  <a:lnTo>
                    <a:pt x="430" y="0"/>
                  </a:lnTo>
                  <a:lnTo>
                    <a:pt x="404" y="0"/>
                  </a:lnTo>
                  <a:lnTo>
                    <a:pt x="378" y="0"/>
                  </a:lnTo>
                  <a:lnTo>
                    <a:pt x="354" y="2"/>
                  </a:lnTo>
                  <a:lnTo>
                    <a:pt x="354" y="2"/>
                  </a:lnTo>
                  <a:lnTo>
                    <a:pt x="350" y="18"/>
                  </a:lnTo>
                  <a:lnTo>
                    <a:pt x="346" y="34"/>
                  </a:lnTo>
                  <a:lnTo>
                    <a:pt x="340" y="48"/>
                  </a:lnTo>
                  <a:lnTo>
                    <a:pt x="332" y="62"/>
                  </a:lnTo>
                  <a:lnTo>
                    <a:pt x="320" y="74"/>
                  </a:lnTo>
                  <a:lnTo>
                    <a:pt x="308" y="86"/>
                  </a:lnTo>
                  <a:lnTo>
                    <a:pt x="296" y="96"/>
                  </a:lnTo>
                  <a:lnTo>
                    <a:pt x="280" y="102"/>
                  </a:lnTo>
                  <a:lnTo>
                    <a:pt x="280" y="102"/>
                  </a:lnTo>
                  <a:lnTo>
                    <a:pt x="264" y="108"/>
                  </a:lnTo>
                  <a:lnTo>
                    <a:pt x="248" y="112"/>
                  </a:lnTo>
                  <a:lnTo>
                    <a:pt x="232" y="112"/>
                  </a:lnTo>
                  <a:lnTo>
                    <a:pt x="216" y="110"/>
                  </a:lnTo>
                  <a:lnTo>
                    <a:pt x="200" y="106"/>
                  </a:lnTo>
                  <a:lnTo>
                    <a:pt x="184" y="100"/>
                  </a:lnTo>
                  <a:lnTo>
                    <a:pt x="170" y="94"/>
                  </a:lnTo>
                  <a:lnTo>
                    <a:pt x="158" y="84"/>
                  </a:lnTo>
                  <a:lnTo>
                    <a:pt x="158" y="84"/>
                  </a:lnTo>
                  <a:lnTo>
                    <a:pt x="138" y="100"/>
                  </a:lnTo>
                  <a:lnTo>
                    <a:pt x="118" y="118"/>
                  </a:lnTo>
                  <a:lnTo>
                    <a:pt x="102" y="136"/>
                  </a:lnTo>
                  <a:lnTo>
                    <a:pt x="84" y="156"/>
                  </a:lnTo>
                  <a:lnTo>
                    <a:pt x="84" y="156"/>
                  </a:lnTo>
                  <a:lnTo>
                    <a:pt x="94" y="170"/>
                  </a:lnTo>
                  <a:lnTo>
                    <a:pt x="102" y="184"/>
                  </a:lnTo>
                  <a:lnTo>
                    <a:pt x="108" y="198"/>
                  </a:lnTo>
                  <a:lnTo>
                    <a:pt x="112" y="214"/>
                  </a:lnTo>
                  <a:lnTo>
                    <a:pt x="114" y="230"/>
                  </a:lnTo>
                  <a:lnTo>
                    <a:pt x="112" y="246"/>
                  </a:lnTo>
                  <a:lnTo>
                    <a:pt x="110" y="262"/>
                  </a:lnTo>
                  <a:lnTo>
                    <a:pt x="104" y="278"/>
                  </a:lnTo>
                  <a:lnTo>
                    <a:pt x="104" y="278"/>
                  </a:lnTo>
                  <a:lnTo>
                    <a:pt x="96" y="294"/>
                  </a:lnTo>
                  <a:lnTo>
                    <a:pt x="88" y="308"/>
                  </a:lnTo>
                  <a:lnTo>
                    <a:pt x="76" y="320"/>
                  </a:lnTo>
                  <a:lnTo>
                    <a:pt x="64" y="330"/>
                  </a:lnTo>
                  <a:lnTo>
                    <a:pt x="50" y="338"/>
                  </a:lnTo>
                  <a:lnTo>
                    <a:pt x="36" y="344"/>
                  </a:lnTo>
                  <a:lnTo>
                    <a:pt x="20" y="350"/>
                  </a:lnTo>
                  <a:lnTo>
                    <a:pt x="4" y="352"/>
                  </a:lnTo>
                  <a:lnTo>
                    <a:pt x="4" y="352"/>
                  </a:lnTo>
                  <a:lnTo>
                    <a:pt x="2" y="378"/>
                  </a:lnTo>
                  <a:lnTo>
                    <a:pt x="0" y="402"/>
                  </a:lnTo>
                  <a:lnTo>
                    <a:pt x="2" y="429"/>
                  </a:lnTo>
                  <a:lnTo>
                    <a:pt x="4" y="455"/>
                  </a:lnTo>
                  <a:lnTo>
                    <a:pt x="4" y="455"/>
                  </a:lnTo>
                  <a:lnTo>
                    <a:pt x="20" y="457"/>
                  </a:lnTo>
                  <a:lnTo>
                    <a:pt x="36" y="463"/>
                  </a:lnTo>
                  <a:lnTo>
                    <a:pt x="50" y="469"/>
                  </a:lnTo>
                  <a:lnTo>
                    <a:pt x="64" y="477"/>
                  </a:lnTo>
                  <a:lnTo>
                    <a:pt x="76" y="487"/>
                  </a:lnTo>
                  <a:lnTo>
                    <a:pt x="86" y="499"/>
                  </a:lnTo>
                  <a:lnTo>
                    <a:pt x="96" y="513"/>
                  </a:lnTo>
                  <a:lnTo>
                    <a:pt x="104" y="529"/>
                  </a:lnTo>
                  <a:lnTo>
                    <a:pt x="104" y="529"/>
                  </a:lnTo>
                  <a:lnTo>
                    <a:pt x="110" y="545"/>
                  </a:lnTo>
                  <a:lnTo>
                    <a:pt x="112" y="561"/>
                  </a:lnTo>
                  <a:lnTo>
                    <a:pt x="114" y="577"/>
                  </a:lnTo>
                  <a:lnTo>
                    <a:pt x="112" y="593"/>
                  </a:lnTo>
                  <a:lnTo>
                    <a:pt x="108" y="609"/>
                  </a:lnTo>
                  <a:lnTo>
                    <a:pt x="102" y="625"/>
                  </a:lnTo>
                  <a:lnTo>
                    <a:pt x="94" y="639"/>
                  </a:lnTo>
                  <a:lnTo>
                    <a:pt x="84" y="651"/>
                  </a:lnTo>
                  <a:lnTo>
                    <a:pt x="84" y="651"/>
                  </a:lnTo>
                  <a:lnTo>
                    <a:pt x="102" y="671"/>
                  </a:lnTo>
                  <a:lnTo>
                    <a:pt x="120" y="689"/>
                  </a:lnTo>
                  <a:lnTo>
                    <a:pt x="138" y="707"/>
                  </a:lnTo>
                  <a:lnTo>
                    <a:pt x="158" y="723"/>
                  </a:lnTo>
                  <a:lnTo>
                    <a:pt x="158" y="723"/>
                  </a:lnTo>
                  <a:lnTo>
                    <a:pt x="170" y="713"/>
                  </a:lnTo>
                  <a:lnTo>
                    <a:pt x="184" y="707"/>
                  </a:lnTo>
                  <a:lnTo>
                    <a:pt x="200" y="701"/>
                  </a:lnTo>
                  <a:lnTo>
                    <a:pt x="216" y="697"/>
                  </a:lnTo>
                  <a:lnTo>
                    <a:pt x="232" y="695"/>
                  </a:lnTo>
                  <a:lnTo>
                    <a:pt x="248" y="697"/>
                  </a:lnTo>
                  <a:lnTo>
                    <a:pt x="264" y="699"/>
                  </a:lnTo>
                  <a:lnTo>
                    <a:pt x="280" y="705"/>
                  </a:lnTo>
                  <a:lnTo>
                    <a:pt x="280" y="705"/>
                  </a:lnTo>
                  <a:lnTo>
                    <a:pt x="296" y="713"/>
                  </a:lnTo>
                  <a:lnTo>
                    <a:pt x="308" y="721"/>
                  </a:lnTo>
                  <a:lnTo>
                    <a:pt x="320" y="733"/>
                  </a:lnTo>
                  <a:lnTo>
                    <a:pt x="332" y="745"/>
                  </a:lnTo>
                  <a:lnTo>
                    <a:pt x="340" y="759"/>
                  </a:lnTo>
                  <a:lnTo>
                    <a:pt x="346" y="773"/>
                  </a:lnTo>
                  <a:lnTo>
                    <a:pt x="350" y="789"/>
                  </a:lnTo>
                  <a:lnTo>
                    <a:pt x="354" y="805"/>
                  </a:lnTo>
                  <a:lnTo>
                    <a:pt x="354" y="805"/>
                  </a:lnTo>
                  <a:close/>
                  <a:moveTo>
                    <a:pt x="286" y="402"/>
                  </a:moveTo>
                  <a:lnTo>
                    <a:pt x="286" y="402"/>
                  </a:lnTo>
                  <a:lnTo>
                    <a:pt x="286" y="390"/>
                  </a:lnTo>
                  <a:lnTo>
                    <a:pt x="288" y="378"/>
                  </a:lnTo>
                  <a:lnTo>
                    <a:pt x="294" y="356"/>
                  </a:lnTo>
                  <a:lnTo>
                    <a:pt x="306" y="336"/>
                  </a:lnTo>
                  <a:lnTo>
                    <a:pt x="320" y="318"/>
                  </a:lnTo>
                  <a:lnTo>
                    <a:pt x="338" y="304"/>
                  </a:lnTo>
                  <a:lnTo>
                    <a:pt x="358" y="292"/>
                  </a:lnTo>
                  <a:lnTo>
                    <a:pt x="380" y="286"/>
                  </a:lnTo>
                  <a:lnTo>
                    <a:pt x="392" y="284"/>
                  </a:lnTo>
                  <a:lnTo>
                    <a:pt x="404" y="284"/>
                  </a:lnTo>
                  <a:lnTo>
                    <a:pt x="404" y="284"/>
                  </a:lnTo>
                  <a:lnTo>
                    <a:pt x="416" y="284"/>
                  </a:lnTo>
                  <a:lnTo>
                    <a:pt x="428" y="286"/>
                  </a:lnTo>
                  <a:lnTo>
                    <a:pt x="452" y="292"/>
                  </a:lnTo>
                  <a:lnTo>
                    <a:pt x="472" y="304"/>
                  </a:lnTo>
                  <a:lnTo>
                    <a:pt x="490" y="318"/>
                  </a:lnTo>
                  <a:lnTo>
                    <a:pt x="504" y="336"/>
                  </a:lnTo>
                  <a:lnTo>
                    <a:pt x="514" y="356"/>
                  </a:lnTo>
                  <a:lnTo>
                    <a:pt x="522" y="378"/>
                  </a:lnTo>
                  <a:lnTo>
                    <a:pt x="524" y="390"/>
                  </a:lnTo>
                  <a:lnTo>
                    <a:pt x="524" y="402"/>
                  </a:lnTo>
                  <a:lnTo>
                    <a:pt x="524" y="402"/>
                  </a:lnTo>
                  <a:lnTo>
                    <a:pt x="524" y="415"/>
                  </a:lnTo>
                  <a:lnTo>
                    <a:pt x="522" y="427"/>
                  </a:lnTo>
                  <a:lnTo>
                    <a:pt x="514" y="451"/>
                  </a:lnTo>
                  <a:lnTo>
                    <a:pt x="504" y="471"/>
                  </a:lnTo>
                  <a:lnTo>
                    <a:pt x="490" y="489"/>
                  </a:lnTo>
                  <a:lnTo>
                    <a:pt x="472" y="503"/>
                  </a:lnTo>
                  <a:lnTo>
                    <a:pt x="452" y="513"/>
                  </a:lnTo>
                  <a:lnTo>
                    <a:pt x="428" y="521"/>
                  </a:lnTo>
                  <a:lnTo>
                    <a:pt x="416" y="523"/>
                  </a:lnTo>
                  <a:lnTo>
                    <a:pt x="404" y="523"/>
                  </a:lnTo>
                  <a:lnTo>
                    <a:pt x="404" y="523"/>
                  </a:lnTo>
                  <a:lnTo>
                    <a:pt x="392" y="523"/>
                  </a:lnTo>
                  <a:lnTo>
                    <a:pt x="380" y="521"/>
                  </a:lnTo>
                  <a:lnTo>
                    <a:pt x="358" y="513"/>
                  </a:lnTo>
                  <a:lnTo>
                    <a:pt x="338" y="503"/>
                  </a:lnTo>
                  <a:lnTo>
                    <a:pt x="320" y="489"/>
                  </a:lnTo>
                  <a:lnTo>
                    <a:pt x="306" y="471"/>
                  </a:lnTo>
                  <a:lnTo>
                    <a:pt x="294" y="451"/>
                  </a:lnTo>
                  <a:lnTo>
                    <a:pt x="288" y="427"/>
                  </a:lnTo>
                  <a:lnTo>
                    <a:pt x="286" y="415"/>
                  </a:lnTo>
                  <a:lnTo>
                    <a:pt x="286" y="402"/>
                  </a:lnTo>
                  <a:lnTo>
                    <a:pt x="286" y="4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2" name="Freeform 31">
              <a:extLst>
                <a:ext uri="{FF2B5EF4-FFF2-40B4-BE49-F238E27FC236}">
                  <a16:creationId xmlns:a16="http://schemas.microsoft.com/office/drawing/2014/main" id="{2FFBEE39-A923-994A-9A2D-E840E35FF123}"/>
                </a:ext>
              </a:extLst>
            </p:cNvPr>
            <p:cNvSpPr>
              <a:spLocks/>
            </p:cNvSpPr>
            <p:nvPr/>
          </p:nvSpPr>
          <p:spPr bwMode="auto">
            <a:xfrm>
              <a:off x="4149" y="2119"/>
              <a:ext cx="556" cy="673"/>
            </a:xfrm>
            <a:custGeom>
              <a:avLst/>
              <a:gdLst>
                <a:gd name="T0" fmla="*/ 524 w 556"/>
                <a:gd name="T1" fmla="*/ 302 h 673"/>
                <a:gd name="T2" fmla="*/ 496 w 556"/>
                <a:gd name="T3" fmla="*/ 274 h 673"/>
                <a:gd name="T4" fmla="*/ 480 w 556"/>
                <a:gd name="T5" fmla="*/ 236 h 673"/>
                <a:gd name="T6" fmla="*/ 478 w 556"/>
                <a:gd name="T7" fmla="*/ 218 h 673"/>
                <a:gd name="T8" fmla="*/ 482 w 556"/>
                <a:gd name="T9" fmla="*/ 192 h 673"/>
                <a:gd name="T10" fmla="*/ 500 w 556"/>
                <a:gd name="T11" fmla="*/ 156 h 673"/>
                <a:gd name="T12" fmla="*/ 528 w 556"/>
                <a:gd name="T13" fmla="*/ 132 h 673"/>
                <a:gd name="T14" fmla="*/ 540 w 556"/>
                <a:gd name="T15" fmla="*/ 102 h 673"/>
                <a:gd name="T16" fmla="*/ 506 w 556"/>
                <a:gd name="T17" fmla="*/ 24 h 673"/>
                <a:gd name="T18" fmla="*/ 450 w 556"/>
                <a:gd name="T19" fmla="*/ 26 h 673"/>
                <a:gd name="T20" fmla="*/ 486 w 556"/>
                <a:gd name="T21" fmla="*/ 100 h 673"/>
                <a:gd name="T22" fmla="*/ 452 w 556"/>
                <a:gd name="T23" fmla="*/ 136 h 673"/>
                <a:gd name="T24" fmla="*/ 432 w 556"/>
                <a:gd name="T25" fmla="*/ 184 h 673"/>
                <a:gd name="T26" fmla="*/ 428 w 556"/>
                <a:gd name="T27" fmla="*/ 218 h 673"/>
                <a:gd name="T28" fmla="*/ 430 w 556"/>
                <a:gd name="T29" fmla="*/ 244 h 673"/>
                <a:gd name="T30" fmla="*/ 450 w 556"/>
                <a:gd name="T31" fmla="*/ 294 h 673"/>
                <a:gd name="T32" fmla="*/ 484 w 556"/>
                <a:gd name="T33" fmla="*/ 334 h 673"/>
                <a:gd name="T34" fmla="*/ 488 w 556"/>
                <a:gd name="T35" fmla="*/ 374 h 673"/>
                <a:gd name="T36" fmla="*/ 458 w 556"/>
                <a:gd name="T37" fmla="*/ 402 h 673"/>
                <a:gd name="T38" fmla="*/ 428 w 556"/>
                <a:gd name="T39" fmla="*/ 406 h 673"/>
                <a:gd name="T40" fmla="*/ 384 w 556"/>
                <a:gd name="T41" fmla="*/ 422 h 673"/>
                <a:gd name="T42" fmla="*/ 346 w 556"/>
                <a:gd name="T43" fmla="*/ 453 h 673"/>
                <a:gd name="T44" fmla="*/ 330 w 556"/>
                <a:gd name="T45" fmla="*/ 475 h 673"/>
                <a:gd name="T46" fmla="*/ 314 w 556"/>
                <a:gd name="T47" fmla="*/ 513 h 673"/>
                <a:gd name="T48" fmla="*/ 308 w 556"/>
                <a:gd name="T49" fmla="*/ 553 h 673"/>
                <a:gd name="T50" fmla="*/ 312 w 556"/>
                <a:gd name="T51" fmla="*/ 585 h 673"/>
                <a:gd name="T52" fmla="*/ 254 w 556"/>
                <a:gd name="T53" fmla="*/ 613 h 673"/>
                <a:gd name="T54" fmla="*/ 230 w 556"/>
                <a:gd name="T55" fmla="*/ 589 h 673"/>
                <a:gd name="T56" fmla="*/ 186 w 556"/>
                <a:gd name="T57" fmla="*/ 563 h 673"/>
                <a:gd name="T58" fmla="*/ 136 w 556"/>
                <a:gd name="T59" fmla="*/ 555 h 673"/>
                <a:gd name="T60" fmla="*/ 128 w 556"/>
                <a:gd name="T61" fmla="*/ 555 h 673"/>
                <a:gd name="T62" fmla="*/ 68 w 556"/>
                <a:gd name="T63" fmla="*/ 571 h 673"/>
                <a:gd name="T64" fmla="*/ 20 w 556"/>
                <a:gd name="T65" fmla="*/ 607 h 673"/>
                <a:gd name="T66" fmla="*/ 44 w 556"/>
                <a:gd name="T67" fmla="*/ 663 h 673"/>
                <a:gd name="T68" fmla="*/ 58 w 556"/>
                <a:gd name="T69" fmla="*/ 641 h 673"/>
                <a:gd name="T70" fmla="*/ 90 w 556"/>
                <a:gd name="T71" fmla="*/ 615 h 673"/>
                <a:gd name="T72" fmla="*/ 130 w 556"/>
                <a:gd name="T73" fmla="*/ 605 h 673"/>
                <a:gd name="T74" fmla="*/ 136 w 556"/>
                <a:gd name="T75" fmla="*/ 605 h 673"/>
                <a:gd name="T76" fmla="*/ 174 w 556"/>
                <a:gd name="T77" fmla="*/ 613 h 673"/>
                <a:gd name="T78" fmla="*/ 206 w 556"/>
                <a:gd name="T79" fmla="*/ 635 h 673"/>
                <a:gd name="T80" fmla="*/ 232 w 556"/>
                <a:gd name="T81" fmla="*/ 673 h 673"/>
                <a:gd name="T82" fmla="*/ 278 w 556"/>
                <a:gd name="T83" fmla="*/ 657 h 673"/>
                <a:gd name="T84" fmla="*/ 354 w 556"/>
                <a:gd name="T85" fmla="*/ 617 h 673"/>
                <a:gd name="T86" fmla="*/ 364 w 556"/>
                <a:gd name="T87" fmla="*/ 589 h 673"/>
                <a:gd name="T88" fmla="*/ 358 w 556"/>
                <a:gd name="T89" fmla="*/ 553 h 673"/>
                <a:gd name="T90" fmla="*/ 372 w 556"/>
                <a:gd name="T91" fmla="*/ 501 h 673"/>
                <a:gd name="T92" fmla="*/ 400 w 556"/>
                <a:gd name="T93" fmla="*/ 471 h 673"/>
                <a:gd name="T94" fmla="*/ 458 w 556"/>
                <a:gd name="T95" fmla="*/ 453 h 673"/>
                <a:gd name="T96" fmla="*/ 484 w 556"/>
                <a:gd name="T97" fmla="*/ 457 h 673"/>
                <a:gd name="T98" fmla="*/ 512 w 556"/>
                <a:gd name="T99" fmla="*/ 444 h 673"/>
                <a:gd name="T100" fmla="*/ 544 w 556"/>
                <a:gd name="T101" fmla="*/ 364 h 673"/>
                <a:gd name="T102" fmla="*/ 536 w 556"/>
                <a:gd name="T103" fmla="*/ 308 h 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6" h="673">
                  <a:moveTo>
                    <a:pt x="536" y="308"/>
                  </a:moveTo>
                  <a:lnTo>
                    <a:pt x="536" y="308"/>
                  </a:lnTo>
                  <a:lnTo>
                    <a:pt x="524" y="302"/>
                  </a:lnTo>
                  <a:lnTo>
                    <a:pt x="514" y="294"/>
                  </a:lnTo>
                  <a:lnTo>
                    <a:pt x="504" y="284"/>
                  </a:lnTo>
                  <a:lnTo>
                    <a:pt x="496" y="274"/>
                  </a:lnTo>
                  <a:lnTo>
                    <a:pt x="490" y="262"/>
                  </a:lnTo>
                  <a:lnTo>
                    <a:pt x="484" y="250"/>
                  </a:lnTo>
                  <a:lnTo>
                    <a:pt x="480" y="236"/>
                  </a:lnTo>
                  <a:lnTo>
                    <a:pt x="478" y="222"/>
                  </a:lnTo>
                  <a:lnTo>
                    <a:pt x="478" y="222"/>
                  </a:lnTo>
                  <a:lnTo>
                    <a:pt x="478" y="218"/>
                  </a:lnTo>
                  <a:lnTo>
                    <a:pt x="478" y="218"/>
                  </a:lnTo>
                  <a:lnTo>
                    <a:pt x="480" y="204"/>
                  </a:lnTo>
                  <a:lnTo>
                    <a:pt x="482" y="192"/>
                  </a:lnTo>
                  <a:lnTo>
                    <a:pt x="486" y="178"/>
                  </a:lnTo>
                  <a:lnTo>
                    <a:pt x="492" y="168"/>
                  </a:lnTo>
                  <a:lnTo>
                    <a:pt x="500" y="156"/>
                  </a:lnTo>
                  <a:lnTo>
                    <a:pt x="508" y="146"/>
                  </a:lnTo>
                  <a:lnTo>
                    <a:pt x="518" y="138"/>
                  </a:lnTo>
                  <a:lnTo>
                    <a:pt x="528" y="132"/>
                  </a:lnTo>
                  <a:lnTo>
                    <a:pt x="546" y="122"/>
                  </a:lnTo>
                  <a:lnTo>
                    <a:pt x="540" y="102"/>
                  </a:lnTo>
                  <a:lnTo>
                    <a:pt x="540" y="102"/>
                  </a:lnTo>
                  <a:lnTo>
                    <a:pt x="530" y="76"/>
                  </a:lnTo>
                  <a:lnTo>
                    <a:pt x="520" y="48"/>
                  </a:lnTo>
                  <a:lnTo>
                    <a:pt x="506" y="24"/>
                  </a:lnTo>
                  <a:lnTo>
                    <a:pt x="492" y="0"/>
                  </a:lnTo>
                  <a:lnTo>
                    <a:pt x="450" y="26"/>
                  </a:lnTo>
                  <a:lnTo>
                    <a:pt x="450" y="26"/>
                  </a:lnTo>
                  <a:lnTo>
                    <a:pt x="470" y="62"/>
                  </a:lnTo>
                  <a:lnTo>
                    <a:pt x="486" y="100"/>
                  </a:lnTo>
                  <a:lnTo>
                    <a:pt x="486" y="100"/>
                  </a:lnTo>
                  <a:lnTo>
                    <a:pt x="474" y="110"/>
                  </a:lnTo>
                  <a:lnTo>
                    <a:pt x="462" y="124"/>
                  </a:lnTo>
                  <a:lnTo>
                    <a:pt x="452" y="136"/>
                  </a:lnTo>
                  <a:lnTo>
                    <a:pt x="444" y="152"/>
                  </a:lnTo>
                  <a:lnTo>
                    <a:pt x="438" y="166"/>
                  </a:lnTo>
                  <a:lnTo>
                    <a:pt x="432" y="184"/>
                  </a:lnTo>
                  <a:lnTo>
                    <a:pt x="430" y="200"/>
                  </a:lnTo>
                  <a:lnTo>
                    <a:pt x="428" y="218"/>
                  </a:lnTo>
                  <a:lnTo>
                    <a:pt x="428" y="218"/>
                  </a:lnTo>
                  <a:lnTo>
                    <a:pt x="428" y="224"/>
                  </a:lnTo>
                  <a:lnTo>
                    <a:pt x="428" y="224"/>
                  </a:lnTo>
                  <a:lnTo>
                    <a:pt x="430" y="244"/>
                  </a:lnTo>
                  <a:lnTo>
                    <a:pt x="436" y="260"/>
                  </a:lnTo>
                  <a:lnTo>
                    <a:pt x="442" y="278"/>
                  </a:lnTo>
                  <a:lnTo>
                    <a:pt x="450" y="294"/>
                  </a:lnTo>
                  <a:lnTo>
                    <a:pt x="460" y="308"/>
                  </a:lnTo>
                  <a:lnTo>
                    <a:pt x="470" y="322"/>
                  </a:lnTo>
                  <a:lnTo>
                    <a:pt x="484" y="334"/>
                  </a:lnTo>
                  <a:lnTo>
                    <a:pt x="498" y="344"/>
                  </a:lnTo>
                  <a:lnTo>
                    <a:pt x="498" y="344"/>
                  </a:lnTo>
                  <a:lnTo>
                    <a:pt x="488" y="374"/>
                  </a:lnTo>
                  <a:lnTo>
                    <a:pt x="476" y="404"/>
                  </a:lnTo>
                  <a:lnTo>
                    <a:pt x="476" y="404"/>
                  </a:lnTo>
                  <a:lnTo>
                    <a:pt x="458" y="402"/>
                  </a:lnTo>
                  <a:lnTo>
                    <a:pt x="458" y="402"/>
                  </a:lnTo>
                  <a:lnTo>
                    <a:pt x="442" y="404"/>
                  </a:lnTo>
                  <a:lnTo>
                    <a:pt x="428" y="406"/>
                  </a:lnTo>
                  <a:lnTo>
                    <a:pt x="412" y="410"/>
                  </a:lnTo>
                  <a:lnTo>
                    <a:pt x="398" y="416"/>
                  </a:lnTo>
                  <a:lnTo>
                    <a:pt x="384" y="422"/>
                  </a:lnTo>
                  <a:lnTo>
                    <a:pt x="370" y="430"/>
                  </a:lnTo>
                  <a:lnTo>
                    <a:pt x="358" y="440"/>
                  </a:lnTo>
                  <a:lnTo>
                    <a:pt x="346" y="453"/>
                  </a:lnTo>
                  <a:lnTo>
                    <a:pt x="346" y="453"/>
                  </a:lnTo>
                  <a:lnTo>
                    <a:pt x="338" y="463"/>
                  </a:lnTo>
                  <a:lnTo>
                    <a:pt x="330" y="475"/>
                  </a:lnTo>
                  <a:lnTo>
                    <a:pt x="322" y="487"/>
                  </a:lnTo>
                  <a:lnTo>
                    <a:pt x="318" y="501"/>
                  </a:lnTo>
                  <a:lnTo>
                    <a:pt x="314" y="513"/>
                  </a:lnTo>
                  <a:lnTo>
                    <a:pt x="310" y="527"/>
                  </a:lnTo>
                  <a:lnTo>
                    <a:pt x="308" y="539"/>
                  </a:lnTo>
                  <a:lnTo>
                    <a:pt x="308" y="553"/>
                  </a:lnTo>
                  <a:lnTo>
                    <a:pt x="308" y="553"/>
                  </a:lnTo>
                  <a:lnTo>
                    <a:pt x="308" y="569"/>
                  </a:lnTo>
                  <a:lnTo>
                    <a:pt x="312" y="585"/>
                  </a:lnTo>
                  <a:lnTo>
                    <a:pt x="312" y="585"/>
                  </a:lnTo>
                  <a:lnTo>
                    <a:pt x="282" y="601"/>
                  </a:lnTo>
                  <a:lnTo>
                    <a:pt x="254" y="613"/>
                  </a:lnTo>
                  <a:lnTo>
                    <a:pt x="254" y="613"/>
                  </a:lnTo>
                  <a:lnTo>
                    <a:pt x="242" y="599"/>
                  </a:lnTo>
                  <a:lnTo>
                    <a:pt x="230" y="589"/>
                  </a:lnTo>
                  <a:lnTo>
                    <a:pt x="216" y="579"/>
                  </a:lnTo>
                  <a:lnTo>
                    <a:pt x="202" y="571"/>
                  </a:lnTo>
                  <a:lnTo>
                    <a:pt x="186" y="563"/>
                  </a:lnTo>
                  <a:lnTo>
                    <a:pt x="170" y="559"/>
                  </a:lnTo>
                  <a:lnTo>
                    <a:pt x="152" y="555"/>
                  </a:lnTo>
                  <a:lnTo>
                    <a:pt x="136" y="555"/>
                  </a:lnTo>
                  <a:lnTo>
                    <a:pt x="136" y="555"/>
                  </a:lnTo>
                  <a:lnTo>
                    <a:pt x="128" y="555"/>
                  </a:lnTo>
                  <a:lnTo>
                    <a:pt x="128" y="555"/>
                  </a:lnTo>
                  <a:lnTo>
                    <a:pt x="106" y="557"/>
                  </a:lnTo>
                  <a:lnTo>
                    <a:pt x="86" y="563"/>
                  </a:lnTo>
                  <a:lnTo>
                    <a:pt x="68" y="571"/>
                  </a:lnTo>
                  <a:lnTo>
                    <a:pt x="50" y="581"/>
                  </a:lnTo>
                  <a:lnTo>
                    <a:pt x="34" y="593"/>
                  </a:lnTo>
                  <a:lnTo>
                    <a:pt x="20" y="607"/>
                  </a:lnTo>
                  <a:lnTo>
                    <a:pt x="8" y="625"/>
                  </a:lnTo>
                  <a:lnTo>
                    <a:pt x="0" y="641"/>
                  </a:lnTo>
                  <a:lnTo>
                    <a:pt x="44" y="663"/>
                  </a:lnTo>
                  <a:lnTo>
                    <a:pt x="44" y="663"/>
                  </a:lnTo>
                  <a:lnTo>
                    <a:pt x="50" y="651"/>
                  </a:lnTo>
                  <a:lnTo>
                    <a:pt x="58" y="641"/>
                  </a:lnTo>
                  <a:lnTo>
                    <a:pt x="68" y="631"/>
                  </a:lnTo>
                  <a:lnTo>
                    <a:pt x="78" y="623"/>
                  </a:lnTo>
                  <a:lnTo>
                    <a:pt x="90" y="615"/>
                  </a:lnTo>
                  <a:lnTo>
                    <a:pt x="102" y="609"/>
                  </a:lnTo>
                  <a:lnTo>
                    <a:pt x="116" y="607"/>
                  </a:lnTo>
                  <a:lnTo>
                    <a:pt x="130" y="605"/>
                  </a:lnTo>
                  <a:lnTo>
                    <a:pt x="130" y="605"/>
                  </a:lnTo>
                  <a:lnTo>
                    <a:pt x="136" y="605"/>
                  </a:lnTo>
                  <a:lnTo>
                    <a:pt x="136" y="605"/>
                  </a:lnTo>
                  <a:lnTo>
                    <a:pt x="148" y="605"/>
                  </a:lnTo>
                  <a:lnTo>
                    <a:pt x="162" y="609"/>
                  </a:lnTo>
                  <a:lnTo>
                    <a:pt x="174" y="613"/>
                  </a:lnTo>
                  <a:lnTo>
                    <a:pt x="186" y="619"/>
                  </a:lnTo>
                  <a:lnTo>
                    <a:pt x="196" y="625"/>
                  </a:lnTo>
                  <a:lnTo>
                    <a:pt x="206" y="635"/>
                  </a:lnTo>
                  <a:lnTo>
                    <a:pt x="214" y="643"/>
                  </a:lnTo>
                  <a:lnTo>
                    <a:pt x="222" y="655"/>
                  </a:lnTo>
                  <a:lnTo>
                    <a:pt x="232" y="673"/>
                  </a:lnTo>
                  <a:lnTo>
                    <a:pt x="250" y="665"/>
                  </a:lnTo>
                  <a:lnTo>
                    <a:pt x="250" y="665"/>
                  </a:lnTo>
                  <a:lnTo>
                    <a:pt x="278" y="657"/>
                  </a:lnTo>
                  <a:lnTo>
                    <a:pt x="304" y="645"/>
                  </a:lnTo>
                  <a:lnTo>
                    <a:pt x="330" y="633"/>
                  </a:lnTo>
                  <a:lnTo>
                    <a:pt x="354" y="617"/>
                  </a:lnTo>
                  <a:lnTo>
                    <a:pt x="370" y="607"/>
                  </a:lnTo>
                  <a:lnTo>
                    <a:pt x="364" y="589"/>
                  </a:lnTo>
                  <a:lnTo>
                    <a:pt x="364" y="589"/>
                  </a:lnTo>
                  <a:lnTo>
                    <a:pt x="358" y="571"/>
                  </a:lnTo>
                  <a:lnTo>
                    <a:pt x="358" y="553"/>
                  </a:lnTo>
                  <a:lnTo>
                    <a:pt x="358" y="553"/>
                  </a:lnTo>
                  <a:lnTo>
                    <a:pt x="360" y="535"/>
                  </a:lnTo>
                  <a:lnTo>
                    <a:pt x="364" y="517"/>
                  </a:lnTo>
                  <a:lnTo>
                    <a:pt x="372" y="501"/>
                  </a:lnTo>
                  <a:lnTo>
                    <a:pt x="384" y="487"/>
                  </a:lnTo>
                  <a:lnTo>
                    <a:pt x="384" y="487"/>
                  </a:lnTo>
                  <a:lnTo>
                    <a:pt x="400" y="471"/>
                  </a:lnTo>
                  <a:lnTo>
                    <a:pt x="418" y="461"/>
                  </a:lnTo>
                  <a:lnTo>
                    <a:pt x="438" y="455"/>
                  </a:lnTo>
                  <a:lnTo>
                    <a:pt x="458" y="453"/>
                  </a:lnTo>
                  <a:lnTo>
                    <a:pt x="458" y="453"/>
                  </a:lnTo>
                  <a:lnTo>
                    <a:pt x="470" y="455"/>
                  </a:lnTo>
                  <a:lnTo>
                    <a:pt x="484" y="457"/>
                  </a:lnTo>
                  <a:lnTo>
                    <a:pt x="502" y="463"/>
                  </a:lnTo>
                  <a:lnTo>
                    <a:pt x="512" y="444"/>
                  </a:lnTo>
                  <a:lnTo>
                    <a:pt x="512" y="444"/>
                  </a:lnTo>
                  <a:lnTo>
                    <a:pt x="524" y="418"/>
                  </a:lnTo>
                  <a:lnTo>
                    <a:pt x="534" y="392"/>
                  </a:lnTo>
                  <a:lnTo>
                    <a:pt x="544" y="364"/>
                  </a:lnTo>
                  <a:lnTo>
                    <a:pt x="550" y="336"/>
                  </a:lnTo>
                  <a:lnTo>
                    <a:pt x="556" y="318"/>
                  </a:lnTo>
                  <a:lnTo>
                    <a:pt x="536" y="30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3" name="Freeform 32">
              <a:extLst>
                <a:ext uri="{FF2B5EF4-FFF2-40B4-BE49-F238E27FC236}">
                  <a16:creationId xmlns:a16="http://schemas.microsoft.com/office/drawing/2014/main" id="{043FAD03-E2AB-1441-A6F4-B9F4723F1719}"/>
                </a:ext>
              </a:extLst>
            </p:cNvPr>
            <p:cNvSpPr>
              <a:spLocks/>
            </p:cNvSpPr>
            <p:nvPr/>
          </p:nvSpPr>
          <p:spPr bwMode="auto">
            <a:xfrm>
              <a:off x="4099" y="2181"/>
              <a:ext cx="366" cy="364"/>
            </a:xfrm>
            <a:custGeom>
              <a:avLst/>
              <a:gdLst>
                <a:gd name="T0" fmla="*/ 182 w 366"/>
                <a:gd name="T1" fmla="*/ 364 h 364"/>
                <a:gd name="T2" fmla="*/ 220 w 366"/>
                <a:gd name="T3" fmla="*/ 360 h 364"/>
                <a:gd name="T4" fmla="*/ 254 w 366"/>
                <a:gd name="T5" fmla="*/ 350 h 364"/>
                <a:gd name="T6" fmla="*/ 284 w 366"/>
                <a:gd name="T7" fmla="*/ 332 h 364"/>
                <a:gd name="T8" fmla="*/ 312 w 366"/>
                <a:gd name="T9" fmla="*/ 310 h 364"/>
                <a:gd name="T10" fmla="*/ 334 w 366"/>
                <a:gd name="T11" fmla="*/ 284 h 364"/>
                <a:gd name="T12" fmla="*/ 350 w 366"/>
                <a:gd name="T13" fmla="*/ 252 h 364"/>
                <a:gd name="T14" fmla="*/ 362 w 366"/>
                <a:gd name="T15" fmla="*/ 218 h 364"/>
                <a:gd name="T16" fmla="*/ 366 w 366"/>
                <a:gd name="T17" fmla="*/ 182 h 364"/>
                <a:gd name="T18" fmla="*/ 364 w 366"/>
                <a:gd name="T19" fmla="*/ 164 h 364"/>
                <a:gd name="T20" fmla="*/ 358 w 366"/>
                <a:gd name="T21" fmla="*/ 128 h 364"/>
                <a:gd name="T22" fmla="*/ 344 w 366"/>
                <a:gd name="T23" fmla="*/ 96 h 364"/>
                <a:gd name="T24" fmla="*/ 324 w 366"/>
                <a:gd name="T25" fmla="*/ 66 h 364"/>
                <a:gd name="T26" fmla="*/ 300 w 366"/>
                <a:gd name="T27" fmla="*/ 42 h 364"/>
                <a:gd name="T28" fmla="*/ 272 w 366"/>
                <a:gd name="T29" fmla="*/ 22 h 364"/>
                <a:gd name="T30" fmla="*/ 240 w 366"/>
                <a:gd name="T31" fmla="*/ 8 h 364"/>
                <a:gd name="T32" fmla="*/ 206 w 366"/>
                <a:gd name="T33" fmla="*/ 0 h 364"/>
                <a:gd name="T34" fmla="*/ 176 w 366"/>
                <a:gd name="T35" fmla="*/ 46 h 364"/>
                <a:gd name="T36" fmla="*/ 182 w 366"/>
                <a:gd name="T37" fmla="*/ 46 h 364"/>
                <a:gd name="T38" fmla="*/ 186 w 366"/>
                <a:gd name="T39" fmla="*/ 46 h 364"/>
                <a:gd name="T40" fmla="*/ 212 w 366"/>
                <a:gd name="T41" fmla="*/ 50 h 364"/>
                <a:gd name="T42" fmla="*/ 236 w 366"/>
                <a:gd name="T43" fmla="*/ 58 h 364"/>
                <a:gd name="T44" fmla="*/ 260 w 366"/>
                <a:gd name="T45" fmla="*/ 70 h 364"/>
                <a:gd name="T46" fmla="*/ 278 w 366"/>
                <a:gd name="T47" fmla="*/ 88 h 364"/>
                <a:gd name="T48" fmla="*/ 294 w 366"/>
                <a:gd name="T49" fmla="*/ 106 h 364"/>
                <a:gd name="T50" fmla="*/ 308 w 366"/>
                <a:gd name="T51" fmla="*/ 130 h 364"/>
                <a:gd name="T52" fmla="*/ 314 w 366"/>
                <a:gd name="T53" fmla="*/ 154 h 364"/>
                <a:gd name="T54" fmla="*/ 318 w 366"/>
                <a:gd name="T55" fmla="*/ 182 h 364"/>
                <a:gd name="T56" fmla="*/ 316 w 366"/>
                <a:gd name="T57" fmla="*/ 196 h 364"/>
                <a:gd name="T58" fmla="*/ 312 w 366"/>
                <a:gd name="T59" fmla="*/ 222 h 364"/>
                <a:gd name="T60" fmla="*/ 302 w 366"/>
                <a:gd name="T61" fmla="*/ 246 h 364"/>
                <a:gd name="T62" fmla="*/ 286 w 366"/>
                <a:gd name="T63" fmla="*/ 268 h 364"/>
                <a:gd name="T64" fmla="*/ 268 w 366"/>
                <a:gd name="T65" fmla="*/ 286 h 364"/>
                <a:gd name="T66" fmla="*/ 246 w 366"/>
                <a:gd name="T67" fmla="*/ 300 h 364"/>
                <a:gd name="T68" fmla="*/ 222 w 366"/>
                <a:gd name="T69" fmla="*/ 310 h 364"/>
                <a:gd name="T70" fmla="*/ 196 w 366"/>
                <a:gd name="T71" fmla="*/ 316 h 364"/>
                <a:gd name="T72" fmla="*/ 182 w 366"/>
                <a:gd name="T73" fmla="*/ 316 h 364"/>
                <a:gd name="T74" fmla="*/ 156 w 366"/>
                <a:gd name="T75" fmla="*/ 314 h 364"/>
                <a:gd name="T76" fmla="*/ 130 w 366"/>
                <a:gd name="T77" fmla="*/ 306 h 364"/>
                <a:gd name="T78" fmla="*/ 108 w 366"/>
                <a:gd name="T79" fmla="*/ 294 h 364"/>
                <a:gd name="T80" fmla="*/ 88 w 366"/>
                <a:gd name="T81" fmla="*/ 276 h 364"/>
                <a:gd name="T82" fmla="*/ 70 w 366"/>
                <a:gd name="T83" fmla="*/ 256 h 364"/>
                <a:gd name="T84" fmla="*/ 58 w 366"/>
                <a:gd name="T85" fmla="*/ 234 h 364"/>
                <a:gd name="T86" fmla="*/ 50 w 366"/>
                <a:gd name="T87" fmla="*/ 208 h 364"/>
                <a:gd name="T88" fmla="*/ 48 w 366"/>
                <a:gd name="T89" fmla="*/ 182 h 364"/>
                <a:gd name="T90" fmla="*/ 48 w 366"/>
                <a:gd name="T91" fmla="*/ 164 h 364"/>
                <a:gd name="T92" fmla="*/ 0 w 366"/>
                <a:gd name="T93" fmla="*/ 176 h 364"/>
                <a:gd name="T94" fmla="*/ 0 w 366"/>
                <a:gd name="T95" fmla="*/ 182 h 364"/>
                <a:gd name="T96" fmla="*/ 4 w 366"/>
                <a:gd name="T97" fmla="*/ 218 h 364"/>
                <a:gd name="T98" fmla="*/ 14 w 366"/>
                <a:gd name="T99" fmla="*/ 252 h 364"/>
                <a:gd name="T100" fmla="*/ 32 w 366"/>
                <a:gd name="T101" fmla="*/ 284 h 364"/>
                <a:gd name="T102" fmla="*/ 54 w 366"/>
                <a:gd name="T103" fmla="*/ 310 h 364"/>
                <a:gd name="T104" fmla="*/ 80 w 366"/>
                <a:gd name="T105" fmla="*/ 332 h 364"/>
                <a:gd name="T106" fmla="*/ 112 w 366"/>
                <a:gd name="T107" fmla="*/ 350 h 364"/>
                <a:gd name="T108" fmla="*/ 146 w 366"/>
                <a:gd name="T109" fmla="*/ 360 h 364"/>
                <a:gd name="T110" fmla="*/ 182 w 366"/>
                <a:gd name="T111" fmla="*/ 364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6" h="364">
                  <a:moveTo>
                    <a:pt x="182" y="364"/>
                  </a:moveTo>
                  <a:lnTo>
                    <a:pt x="182" y="364"/>
                  </a:lnTo>
                  <a:lnTo>
                    <a:pt x="202" y="364"/>
                  </a:lnTo>
                  <a:lnTo>
                    <a:pt x="220" y="360"/>
                  </a:lnTo>
                  <a:lnTo>
                    <a:pt x="236" y="356"/>
                  </a:lnTo>
                  <a:lnTo>
                    <a:pt x="254" y="350"/>
                  </a:lnTo>
                  <a:lnTo>
                    <a:pt x="270" y="342"/>
                  </a:lnTo>
                  <a:lnTo>
                    <a:pt x="284" y="332"/>
                  </a:lnTo>
                  <a:lnTo>
                    <a:pt x="298" y="322"/>
                  </a:lnTo>
                  <a:lnTo>
                    <a:pt x="312" y="310"/>
                  </a:lnTo>
                  <a:lnTo>
                    <a:pt x="324" y="298"/>
                  </a:lnTo>
                  <a:lnTo>
                    <a:pt x="334" y="284"/>
                  </a:lnTo>
                  <a:lnTo>
                    <a:pt x="344" y="268"/>
                  </a:lnTo>
                  <a:lnTo>
                    <a:pt x="350" y="252"/>
                  </a:lnTo>
                  <a:lnTo>
                    <a:pt x="356" y="236"/>
                  </a:lnTo>
                  <a:lnTo>
                    <a:pt x="362" y="218"/>
                  </a:lnTo>
                  <a:lnTo>
                    <a:pt x="364" y="200"/>
                  </a:lnTo>
                  <a:lnTo>
                    <a:pt x="366" y="182"/>
                  </a:lnTo>
                  <a:lnTo>
                    <a:pt x="366" y="182"/>
                  </a:lnTo>
                  <a:lnTo>
                    <a:pt x="364" y="164"/>
                  </a:lnTo>
                  <a:lnTo>
                    <a:pt x="362" y="146"/>
                  </a:lnTo>
                  <a:lnTo>
                    <a:pt x="358" y="128"/>
                  </a:lnTo>
                  <a:lnTo>
                    <a:pt x="352" y="112"/>
                  </a:lnTo>
                  <a:lnTo>
                    <a:pt x="344" y="96"/>
                  </a:lnTo>
                  <a:lnTo>
                    <a:pt x="334" y="80"/>
                  </a:lnTo>
                  <a:lnTo>
                    <a:pt x="324" y="66"/>
                  </a:lnTo>
                  <a:lnTo>
                    <a:pt x="314" y="54"/>
                  </a:lnTo>
                  <a:lnTo>
                    <a:pt x="300" y="42"/>
                  </a:lnTo>
                  <a:lnTo>
                    <a:pt x="286" y="32"/>
                  </a:lnTo>
                  <a:lnTo>
                    <a:pt x="272" y="22"/>
                  </a:lnTo>
                  <a:lnTo>
                    <a:pt x="256" y="14"/>
                  </a:lnTo>
                  <a:lnTo>
                    <a:pt x="240" y="8"/>
                  </a:lnTo>
                  <a:lnTo>
                    <a:pt x="224" y="4"/>
                  </a:lnTo>
                  <a:lnTo>
                    <a:pt x="206" y="0"/>
                  </a:lnTo>
                  <a:lnTo>
                    <a:pt x="188" y="0"/>
                  </a:lnTo>
                  <a:lnTo>
                    <a:pt x="176" y="46"/>
                  </a:lnTo>
                  <a:lnTo>
                    <a:pt x="176" y="46"/>
                  </a:lnTo>
                  <a:lnTo>
                    <a:pt x="182" y="46"/>
                  </a:lnTo>
                  <a:lnTo>
                    <a:pt x="186" y="46"/>
                  </a:lnTo>
                  <a:lnTo>
                    <a:pt x="186" y="46"/>
                  </a:lnTo>
                  <a:lnTo>
                    <a:pt x="198" y="48"/>
                  </a:lnTo>
                  <a:lnTo>
                    <a:pt x="212" y="50"/>
                  </a:lnTo>
                  <a:lnTo>
                    <a:pt x="224" y="54"/>
                  </a:lnTo>
                  <a:lnTo>
                    <a:pt x="236" y="58"/>
                  </a:lnTo>
                  <a:lnTo>
                    <a:pt x="248" y="64"/>
                  </a:lnTo>
                  <a:lnTo>
                    <a:pt x="260" y="70"/>
                  </a:lnTo>
                  <a:lnTo>
                    <a:pt x="270" y="78"/>
                  </a:lnTo>
                  <a:lnTo>
                    <a:pt x="278" y="88"/>
                  </a:lnTo>
                  <a:lnTo>
                    <a:pt x="288" y="96"/>
                  </a:lnTo>
                  <a:lnTo>
                    <a:pt x="294" y="106"/>
                  </a:lnTo>
                  <a:lnTo>
                    <a:pt x="302" y="118"/>
                  </a:lnTo>
                  <a:lnTo>
                    <a:pt x="308" y="130"/>
                  </a:lnTo>
                  <a:lnTo>
                    <a:pt x="312" y="142"/>
                  </a:lnTo>
                  <a:lnTo>
                    <a:pt x="314" y="154"/>
                  </a:lnTo>
                  <a:lnTo>
                    <a:pt x="316" y="168"/>
                  </a:lnTo>
                  <a:lnTo>
                    <a:pt x="318" y="182"/>
                  </a:lnTo>
                  <a:lnTo>
                    <a:pt x="318" y="182"/>
                  </a:lnTo>
                  <a:lnTo>
                    <a:pt x="316" y="196"/>
                  </a:lnTo>
                  <a:lnTo>
                    <a:pt x="314" y="208"/>
                  </a:lnTo>
                  <a:lnTo>
                    <a:pt x="312" y="222"/>
                  </a:lnTo>
                  <a:lnTo>
                    <a:pt x="306" y="234"/>
                  </a:lnTo>
                  <a:lnTo>
                    <a:pt x="302" y="246"/>
                  </a:lnTo>
                  <a:lnTo>
                    <a:pt x="294" y="256"/>
                  </a:lnTo>
                  <a:lnTo>
                    <a:pt x="286" y="268"/>
                  </a:lnTo>
                  <a:lnTo>
                    <a:pt x="278" y="276"/>
                  </a:lnTo>
                  <a:lnTo>
                    <a:pt x="268" y="286"/>
                  </a:lnTo>
                  <a:lnTo>
                    <a:pt x="258" y="294"/>
                  </a:lnTo>
                  <a:lnTo>
                    <a:pt x="246" y="300"/>
                  </a:lnTo>
                  <a:lnTo>
                    <a:pt x="236" y="306"/>
                  </a:lnTo>
                  <a:lnTo>
                    <a:pt x="222" y="310"/>
                  </a:lnTo>
                  <a:lnTo>
                    <a:pt x="210" y="314"/>
                  </a:lnTo>
                  <a:lnTo>
                    <a:pt x="196" y="316"/>
                  </a:lnTo>
                  <a:lnTo>
                    <a:pt x="182" y="316"/>
                  </a:lnTo>
                  <a:lnTo>
                    <a:pt x="182" y="316"/>
                  </a:lnTo>
                  <a:lnTo>
                    <a:pt x="168" y="316"/>
                  </a:lnTo>
                  <a:lnTo>
                    <a:pt x="156" y="314"/>
                  </a:lnTo>
                  <a:lnTo>
                    <a:pt x="142" y="310"/>
                  </a:lnTo>
                  <a:lnTo>
                    <a:pt x="130" y="306"/>
                  </a:lnTo>
                  <a:lnTo>
                    <a:pt x="118" y="300"/>
                  </a:lnTo>
                  <a:lnTo>
                    <a:pt x="108" y="294"/>
                  </a:lnTo>
                  <a:lnTo>
                    <a:pt x="96" y="286"/>
                  </a:lnTo>
                  <a:lnTo>
                    <a:pt x="88" y="276"/>
                  </a:lnTo>
                  <a:lnTo>
                    <a:pt x="78" y="268"/>
                  </a:lnTo>
                  <a:lnTo>
                    <a:pt x="70" y="256"/>
                  </a:lnTo>
                  <a:lnTo>
                    <a:pt x="64" y="246"/>
                  </a:lnTo>
                  <a:lnTo>
                    <a:pt x="58" y="234"/>
                  </a:lnTo>
                  <a:lnTo>
                    <a:pt x="54" y="222"/>
                  </a:lnTo>
                  <a:lnTo>
                    <a:pt x="50" y="208"/>
                  </a:lnTo>
                  <a:lnTo>
                    <a:pt x="48" y="196"/>
                  </a:lnTo>
                  <a:lnTo>
                    <a:pt x="48" y="182"/>
                  </a:lnTo>
                  <a:lnTo>
                    <a:pt x="48" y="182"/>
                  </a:lnTo>
                  <a:lnTo>
                    <a:pt x="48" y="164"/>
                  </a:lnTo>
                  <a:lnTo>
                    <a:pt x="0" y="176"/>
                  </a:lnTo>
                  <a:lnTo>
                    <a:pt x="0" y="176"/>
                  </a:lnTo>
                  <a:lnTo>
                    <a:pt x="0" y="182"/>
                  </a:lnTo>
                  <a:lnTo>
                    <a:pt x="0" y="182"/>
                  </a:lnTo>
                  <a:lnTo>
                    <a:pt x="0" y="200"/>
                  </a:lnTo>
                  <a:lnTo>
                    <a:pt x="4" y="218"/>
                  </a:lnTo>
                  <a:lnTo>
                    <a:pt x="8" y="236"/>
                  </a:lnTo>
                  <a:lnTo>
                    <a:pt x="14" y="252"/>
                  </a:lnTo>
                  <a:lnTo>
                    <a:pt x="22" y="268"/>
                  </a:lnTo>
                  <a:lnTo>
                    <a:pt x="32" y="284"/>
                  </a:lnTo>
                  <a:lnTo>
                    <a:pt x="42" y="298"/>
                  </a:lnTo>
                  <a:lnTo>
                    <a:pt x="54" y="310"/>
                  </a:lnTo>
                  <a:lnTo>
                    <a:pt x="66" y="322"/>
                  </a:lnTo>
                  <a:lnTo>
                    <a:pt x="80" y="332"/>
                  </a:lnTo>
                  <a:lnTo>
                    <a:pt x="96" y="342"/>
                  </a:lnTo>
                  <a:lnTo>
                    <a:pt x="112" y="350"/>
                  </a:lnTo>
                  <a:lnTo>
                    <a:pt x="128" y="356"/>
                  </a:lnTo>
                  <a:lnTo>
                    <a:pt x="146" y="360"/>
                  </a:lnTo>
                  <a:lnTo>
                    <a:pt x="164" y="364"/>
                  </a:lnTo>
                  <a:lnTo>
                    <a:pt x="182" y="364"/>
                  </a:lnTo>
                  <a:lnTo>
                    <a:pt x="182" y="36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grpSp>
      <p:sp>
        <p:nvSpPr>
          <p:cNvPr id="35" name="Oval 34">
            <a:extLst>
              <a:ext uri="{FF2B5EF4-FFF2-40B4-BE49-F238E27FC236}">
                <a16:creationId xmlns:a16="http://schemas.microsoft.com/office/drawing/2014/main" id="{D4903BC4-28A8-D849-A343-237F8BE4334B}"/>
              </a:ext>
            </a:extLst>
          </p:cNvPr>
          <p:cNvSpPr/>
          <p:nvPr/>
        </p:nvSpPr>
        <p:spPr bwMode="auto">
          <a:xfrm>
            <a:off x="1947920" y="2591372"/>
            <a:ext cx="718888" cy="673779"/>
          </a:xfrm>
          <a:prstGeom prst="ellipse">
            <a:avLst/>
          </a:prstGeom>
          <a:solidFill>
            <a:srgbClr val="524F56"/>
          </a:solidFill>
          <a:ln w="9525" cap="flat" cmpd="sng" algn="ctr">
            <a:solidFill>
              <a:srgbClr val="524F56"/>
            </a:solidFill>
            <a:prstDash val="solid"/>
            <a:headEnd type="none" w="med" len="med"/>
            <a:tailEnd type="none" w="med" len="med"/>
          </a:ln>
          <a:effectLst/>
        </p:spPr>
        <p:txBody>
          <a:bodyPr rot="0" spcFirstLastPara="0" vertOverflow="overflow" horzOverflow="overflow" vert="horz" wrap="square" lIns="186468" tIns="149175" rIns="186468" bIns="149175" numCol="1" spcCol="0" rtlCol="0" fromWordArt="0" anchor="t" anchorCtr="0" forceAA="0" compatLnSpc="1">
            <a:prstTxWarp prst="textNoShape">
              <a:avLst/>
            </a:prstTxWarp>
            <a:noAutofit/>
          </a:bodyPr>
          <a:lstStyle/>
          <a:p>
            <a:pPr algn="ctr" defTabSz="950663" fontAlgn="base">
              <a:lnSpc>
                <a:spcPct val="90000"/>
              </a:lnSpc>
              <a:spcBef>
                <a:spcPct val="0"/>
              </a:spcBef>
              <a:spcAft>
                <a:spcPct val="0"/>
              </a:spcAft>
              <a:defRPr/>
            </a:pPr>
            <a:endParaRPr lang="en-US" sz="2448" kern="0">
              <a:gradFill>
                <a:gsLst>
                  <a:gs pos="0">
                    <a:srgbClr val="FFFFFF"/>
                  </a:gs>
                  <a:gs pos="100000">
                    <a:srgbClr val="FFFFFF"/>
                  </a:gs>
                </a:gsLst>
                <a:lin ang="5400000" scaled="0"/>
              </a:gradFill>
              <a:latin typeface="Montserrat" pitchFamily="2" charset="77"/>
              <a:ea typeface="Segoe UI" pitchFamily="34" charset="0"/>
              <a:cs typeface="Segoe UI" pitchFamily="34" charset="0"/>
            </a:endParaRPr>
          </a:p>
        </p:txBody>
      </p:sp>
      <p:grpSp>
        <p:nvGrpSpPr>
          <p:cNvPr id="36" name="Group 35">
            <a:extLst>
              <a:ext uri="{FF2B5EF4-FFF2-40B4-BE49-F238E27FC236}">
                <a16:creationId xmlns:a16="http://schemas.microsoft.com/office/drawing/2014/main" id="{FBA4B5D0-E778-A747-95C6-34D341E024E4}"/>
              </a:ext>
            </a:extLst>
          </p:cNvPr>
          <p:cNvGrpSpPr>
            <a:grpSpLocks noChangeAspect="1"/>
          </p:cNvGrpSpPr>
          <p:nvPr/>
        </p:nvGrpSpPr>
        <p:grpSpPr bwMode="auto">
          <a:xfrm>
            <a:off x="2032122" y="2780199"/>
            <a:ext cx="561185" cy="277908"/>
            <a:chOff x="2481" y="1487"/>
            <a:chExt cx="2718" cy="1346"/>
          </a:xfrm>
        </p:grpSpPr>
        <p:sp>
          <p:nvSpPr>
            <p:cNvPr id="37" name="AutoShape 20">
              <a:extLst>
                <a:ext uri="{FF2B5EF4-FFF2-40B4-BE49-F238E27FC236}">
                  <a16:creationId xmlns:a16="http://schemas.microsoft.com/office/drawing/2014/main" id="{BF53F8C5-F631-2943-BD9C-AAE056500C98}"/>
                </a:ext>
              </a:extLst>
            </p:cNvPr>
            <p:cNvSpPr>
              <a:spLocks noChangeAspect="1" noChangeArrowheads="1" noTextEdit="1"/>
            </p:cNvSpPr>
            <p:nvPr/>
          </p:nvSpPr>
          <p:spPr bwMode="auto">
            <a:xfrm>
              <a:off x="2481" y="1487"/>
              <a:ext cx="2718" cy="1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8" name="Freeform 22">
              <a:extLst>
                <a:ext uri="{FF2B5EF4-FFF2-40B4-BE49-F238E27FC236}">
                  <a16:creationId xmlns:a16="http://schemas.microsoft.com/office/drawing/2014/main" id="{45347031-B3A7-F54E-9282-71804951E597}"/>
                </a:ext>
              </a:extLst>
            </p:cNvPr>
            <p:cNvSpPr>
              <a:spLocks/>
            </p:cNvSpPr>
            <p:nvPr/>
          </p:nvSpPr>
          <p:spPr bwMode="auto">
            <a:xfrm>
              <a:off x="4392" y="1685"/>
              <a:ext cx="807" cy="1148"/>
            </a:xfrm>
            <a:custGeom>
              <a:avLst/>
              <a:gdLst>
                <a:gd name="T0" fmla="*/ 62 w 807"/>
                <a:gd name="T1" fmla="*/ 407 h 1148"/>
                <a:gd name="T2" fmla="*/ 66 w 807"/>
                <a:gd name="T3" fmla="*/ 407 h 1148"/>
                <a:gd name="T4" fmla="*/ 86 w 807"/>
                <a:gd name="T5" fmla="*/ 459 h 1148"/>
                <a:gd name="T6" fmla="*/ 112 w 807"/>
                <a:gd name="T7" fmla="*/ 507 h 1148"/>
                <a:gd name="T8" fmla="*/ 124 w 807"/>
                <a:gd name="T9" fmla="*/ 575 h 1148"/>
                <a:gd name="T10" fmla="*/ 165 w 807"/>
                <a:gd name="T11" fmla="*/ 822 h 1148"/>
                <a:gd name="T12" fmla="*/ 181 w 807"/>
                <a:gd name="T13" fmla="*/ 980 h 1148"/>
                <a:gd name="T14" fmla="*/ 181 w 807"/>
                <a:gd name="T15" fmla="*/ 1028 h 1148"/>
                <a:gd name="T16" fmla="*/ 177 w 807"/>
                <a:gd name="T17" fmla="*/ 1046 h 1148"/>
                <a:gd name="T18" fmla="*/ 143 w 807"/>
                <a:gd name="T19" fmla="*/ 1148 h 1148"/>
                <a:gd name="T20" fmla="*/ 807 w 807"/>
                <a:gd name="T21" fmla="*/ 1148 h 1148"/>
                <a:gd name="T22" fmla="*/ 803 w 807"/>
                <a:gd name="T23" fmla="*/ 1068 h 1148"/>
                <a:gd name="T24" fmla="*/ 785 w 807"/>
                <a:gd name="T25" fmla="*/ 958 h 1148"/>
                <a:gd name="T26" fmla="*/ 731 w 807"/>
                <a:gd name="T27" fmla="*/ 707 h 1148"/>
                <a:gd name="T28" fmla="*/ 725 w 807"/>
                <a:gd name="T29" fmla="*/ 683 h 1148"/>
                <a:gd name="T30" fmla="*/ 711 w 807"/>
                <a:gd name="T31" fmla="*/ 659 h 1148"/>
                <a:gd name="T32" fmla="*/ 695 w 807"/>
                <a:gd name="T33" fmla="*/ 641 h 1148"/>
                <a:gd name="T34" fmla="*/ 673 w 807"/>
                <a:gd name="T35" fmla="*/ 629 h 1148"/>
                <a:gd name="T36" fmla="*/ 603 w 807"/>
                <a:gd name="T37" fmla="*/ 607 h 1148"/>
                <a:gd name="T38" fmla="*/ 499 w 807"/>
                <a:gd name="T39" fmla="*/ 579 h 1148"/>
                <a:gd name="T40" fmla="*/ 429 w 807"/>
                <a:gd name="T41" fmla="*/ 565 h 1148"/>
                <a:gd name="T42" fmla="*/ 393 w 807"/>
                <a:gd name="T43" fmla="*/ 561 h 1148"/>
                <a:gd name="T44" fmla="*/ 401 w 807"/>
                <a:gd name="T45" fmla="*/ 507 h 1148"/>
                <a:gd name="T46" fmla="*/ 413 w 807"/>
                <a:gd name="T47" fmla="*/ 483 h 1148"/>
                <a:gd name="T48" fmla="*/ 437 w 807"/>
                <a:gd name="T49" fmla="*/ 433 h 1148"/>
                <a:gd name="T50" fmla="*/ 447 w 807"/>
                <a:gd name="T51" fmla="*/ 407 h 1148"/>
                <a:gd name="T52" fmla="*/ 449 w 807"/>
                <a:gd name="T53" fmla="*/ 407 h 1148"/>
                <a:gd name="T54" fmla="*/ 469 w 807"/>
                <a:gd name="T55" fmla="*/ 401 h 1148"/>
                <a:gd name="T56" fmla="*/ 487 w 807"/>
                <a:gd name="T57" fmla="*/ 383 h 1148"/>
                <a:gd name="T58" fmla="*/ 501 w 807"/>
                <a:gd name="T59" fmla="*/ 359 h 1148"/>
                <a:gd name="T60" fmla="*/ 509 w 807"/>
                <a:gd name="T61" fmla="*/ 333 h 1148"/>
                <a:gd name="T62" fmla="*/ 511 w 807"/>
                <a:gd name="T63" fmla="*/ 307 h 1148"/>
                <a:gd name="T64" fmla="*/ 509 w 807"/>
                <a:gd name="T65" fmla="*/ 285 h 1148"/>
                <a:gd name="T66" fmla="*/ 501 w 807"/>
                <a:gd name="T67" fmla="*/ 269 h 1148"/>
                <a:gd name="T68" fmla="*/ 485 w 807"/>
                <a:gd name="T69" fmla="*/ 263 h 1148"/>
                <a:gd name="T70" fmla="*/ 479 w 807"/>
                <a:gd name="T71" fmla="*/ 263 h 1148"/>
                <a:gd name="T72" fmla="*/ 487 w 807"/>
                <a:gd name="T73" fmla="*/ 239 h 1148"/>
                <a:gd name="T74" fmla="*/ 493 w 807"/>
                <a:gd name="T75" fmla="*/ 193 h 1148"/>
                <a:gd name="T76" fmla="*/ 487 w 807"/>
                <a:gd name="T77" fmla="*/ 147 h 1148"/>
                <a:gd name="T78" fmla="*/ 467 w 807"/>
                <a:gd name="T79" fmla="*/ 106 h 1148"/>
                <a:gd name="T80" fmla="*/ 439 w 807"/>
                <a:gd name="T81" fmla="*/ 68 h 1148"/>
                <a:gd name="T82" fmla="*/ 399 w 807"/>
                <a:gd name="T83" fmla="*/ 36 h 1148"/>
                <a:gd name="T84" fmla="*/ 349 w 807"/>
                <a:gd name="T85" fmla="*/ 14 h 1148"/>
                <a:gd name="T86" fmla="*/ 289 w 807"/>
                <a:gd name="T87" fmla="*/ 2 h 1148"/>
                <a:gd name="T88" fmla="*/ 257 w 807"/>
                <a:gd name="T89" fmla="*/ 0 h 1148"/>
                <a:gd name="T90" fmla="*/ 193 w 807"/>
                <a:gd name="T91" fmla="*/ 6 h 1148"/>
                <a:gd name="T92" fmla="*/ 139 w 807"/>
                <a:gd name="T93" fmla="*/ 24 h 1148"/>
                <a:gd name="T94" fmla="*/ 92 w 807"/>
                <a:gd name="T95" fmla="*/ 52 h 1148"/>
                <a:gd name="T96" fmla="*/ 58 w 807"/>
                <a:gd name="T97" fmla="*/ 86 h 1148"/>
                <a:gd name="T98" fmla="*/ 34 w 807"/>
                <a:gd name="T99" fmla="*/ 126 h 1148"/>
                <a:gd name="T100" fmla="*/ 22 w 807"/>
                <a:gd name="T101" fmla="*/ 169 h 1148"/>
                <a:gd name="T102" fmla="*/ 20 w 807"/>
                <a:gd name="T103" fmla="*/ 217 h 1148"/>
                <a:gd name="T104" fmla="*/ 32 w 807"/>
                <a:gd name="T105" fmla="*/ 263 h 1148"/>
                <a:gd name="T106" fmla="*/ 26 w 807"/>
                <a:gd name="T107" fmla="*/ 263 h 1148"/>
                <a:gd name="T108" fmla="*/ 18 w 807"/>
                <a:gd name="T109" fmla="*/ 265 h 1148"/>
                <a:gd name="T110" fmla="*/ 6 w 807"/>
                <a:gd name="T111" fmla="*/ 275 h 1148"/>
                <a:gd name="T112" fmla="*/ 0 w 807"/>
                <a:gd name="T113" fmla="*/ 295 h 1148"/>
                <a:gd name="T114" fmla="*/ 4 w 807"/>
                <a:gd name="T115" fmla="*/ 333 h 1148"/>
                <a:gd name="T116" fmla="*/ 8 w 807"/>
                <a:gd name="T117" fmla="*/ 347 h 1148"/>
                <a:gd name="T118" fmla="*/ 18 w 807"/>
                <a:gd name="T119" fmla="*/ 371 h 1148"/>
                <a:gd name="T120" fmla="*/ 34 w 807"/>
                <a:gd name="T121" fmla="*/ 393 h 1148"/>
                <a:gd name="T122" fmla="*/ 52 w 807"/>
                <a:gd name="T123" fmla="*/ 405 h 1148"/>
                <a:gd name="T124" fmla="*/ 62 w 807"/>
                <a:gd name="T125" fmla="*/ 407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07" h="1148">
                  <a:moveTo>
                    <a:pt x="62" y="407"/>
                  </a:moveTo>
                  <a:lnTo>
                    <a:pt x="62" y="407"/>
                  </a:lnTo>
                  <a:lnTo>
                    <a:pt x="66" y="407"/>
                  </a:lnTo>
                  <a:lnTo>
                    <a:pt x="66" y="407"/>
                  </a:lnTo>
                  <a:lnTo>
                    <a:pt x="76" y="433"/>
                  </a:lnTo>
                  <a:lnTo>
                    <a:pt x="86" y="459"/>
                  </a:lnTo>
                  <a:lnTo>
                    <a:pt x="98" y="483"/>
                  </a:lnTo>
                  <a:lnTo>
                    <a:pt x="112" y="507"/>
                  </a:lnTo>
                  <a:lnTo>
                    <a:pt x="112" y="507"/>
                  </a:lnTo>
                  <a:lnTo>
                    <a:pt x="124" y="575"/>
                  </a:lnTo>
                  <a:lnTo>
                    <a:pt x="151" y="733"/>
                  </a:lnTo>
                  <a:lnTo>
                    <a:pt x="165" y="822"/>
                  </a:lnTo>
                  <a:lnTo>
                    <a:pt x="175" y="908"/>
                  </a:lnTo>
                  <a:lnTo>
                    <a:pt x="181" y="980"/>
                  </a:lnTo>
                  <a:lnTo>
                    <a:pt x="181" y="1006"/>
                  </a:lnTo>
                  <a:lnTo>
                    <a:pt x="181" y="1028"/>
                  </a:lnTo>
                  <a:lnTo>
                    <a:pt x="181" y="1028"/>
                  </a:lnTo>
                  <a:lnTo>
                    <a:pt x="177" y="1046"/>
                  </a:lnTo>
                  <a:lnTo>
                    <a:pt x="169" y="1072"/>
                  </a:lnTo>
                  <a:lnTo>
                    <a:pt x="143" y="1148"/>
                  </a:lnTo>
                  <a:lnTo>
                    <a:pt x="807" y="1148"/>
                  </a:lnTo>
                  <a:lnTo>
                    <a:pt x="807" y="1148"/>
                  </a:lnTo>
                  <a:lnTo>
                    <a:pt x="807" y="1114"/>
                  </a:lnTo>
                  <a:lnTo>
                    <a:pt x="803" y="1068"/>
                  </a:lnTo>
                  <a:lnTo>
                    <a:pt x="795" y="1016"/>
                  </a:lnTo>
                  <a:lnTo>
                    <a:pt x="785" y="958"/>
                  </a:lnTo>
                  <a:lnTo>
                    <a:pt x="759" y="834"/>
                  </a:lnTo>
                  <a:lnTo>
                    <a:pt x="731" y="707"/>
                  </a:lnTo>
                  <a:lnTo>
                    <a:pt x="731" y="707"/>
                  </a:lnTo>
                  <a:lnTo>
                    <a:pt x="725" y="683"/>
                  </a:lnTo>
                  <a:lnTo>
                    <a:pt x="719" y="671"/>
                  </a:lnTo>
                  <a:lnTo>
                    <a:pt x="711" y="659"/>
                  </a:lnTo>
                  <a:lnTo>
                    <a:pt x="703" y="649"/>
                  </a:lnTo>
                  <a:lnTo>
                    <a:pt x="695" y="641"/>
                  </a:lnTo>
                  <a:lnTo>
                    <a:pt x="685" y="633"/>
                  </a:lnTo>
                  <a:lnTo>
                    <a:pt x="673" y="629"/>
                  </a:lnTo>
                  <a:lnTo>
                    <a:pt x="673" y="629"/>
                  </a:lnTo>
                  <a:lnTo>
                    <a:pt x="603" y="607"/>
                  </a:lnTo>
                  <a:lnTo>
                    <a:pt x="533" y="587"/>
                  </a:lnTo>
                  <a:lnTo>
                    <a:pt x="499" y="579"/>
                  </a:lnTo>
                  <a:lnTo>
                    <a:pt x="463" y="571"/>
                  </a:lnTo>
                  <a:lnTo>
                    <a:pt x="429" y="565"/>
                  </a:lnTo>
                  <a:lnTo>
                    <a:pt x="393" y="561"/>
                  </a:lnTo>
                  <a:lnTo>
                    <a:pt x="393" y="561"/>
                  </a:lnTo>
                  <a:lnTo>
                    <a:pt x="397" y="523"/>
                  </a:lnTo>
                  <a:lnTo>
                    <a:pt x="401" y="507"/>
                  </a:lnTo>
                  <a:lnTo>
                    <a:pt x="401" y="507"/>
                  </a:lnTo>
                  <a:lnTo>
                    <a:pt x="413" y="483"/>
                  </a:lnTo>
                  <a:lnTo>
                    <a:pt x="425" y="459"/>
                  </a:lnTo>
                  <a:lnTo>
                    <a:pt x="437" y="433"/>
                  </a:lnTo>
                  <a:lnTo>
                    <a:pt x="447" y="407"/>
                  </a:lnTo>
                  <a:lnTo>
                    <a:pt x="447" y="407"/>
                  </a:lnTo>
                  <a:lnTo>
                    <a:pt x="449" y="407"/>
                  </a:lnTo>
                  <a:lnTo>
                    <a:pt x="449" y="407"/>
                  </a:lnTo>
                  <a:lnTo>
                    <a:pt x="459" y="405"/>
                  </a:lnTo>
                  <a:lnTo>
                    <a:pt x="469" y="401"/>
                  </a:lnTo>
                  <a:lnTo>
                    <a:pt x="479" y="393"/>
                  </a:lnTo>
                  <a:lnTo>
                    <a:pt x="487" y="383"/>
                  </a:lnTo>
                  <a:lnTo>
                    <a:pt x="495" y="371"/>
                  </a:lnTo>
                  <a:lnTo>
                    <a:pt x="501" y="359"/>
                  </a:lnTo>
                  <a:lnTo>
                    <a:pt x="505" y="347"/>
                  </a:lnTo>
                  <a:lnTo>
                    <a:pt x="509" y="333"/>
                  </a:lnTo>
                  <a:lnTo>
                    <a:pt x="509" y="333"/>
                  </a:lnTo>
                  <a:lnTo>
                    <a:pt x="511" y="307"/>
                  </a:lnTo>
                  <a:lnTo>
                    <a:pt x="511" y="295"/>
                  </a:lnTo>
                  <a:lnTo>
                    <a:pt x="509" y="285"/>
                  </a:lnTo>
                  <a:lnTo>
                    <a:pt x="507" y="275"/>
                  </a:lnTo>
                  <a:lnTo>
                    <a:pt x="501" y="269"/>
                  </a:lnTo>
                  <a:lnTo>
                    <a:pt x="495" y="265"/>
                  </a:lnTo>
                  <a:lnTo>
                    <a:pt x="485" y="263"/>
                  </a:lnTo>
                  <a:lnTo>
                    <a:pt x="485" y="263"/>
                  </a:lnTo>
                  <a:lnTo>
                    <a:pt x="479" y="263"/>
                  </a:lnTo>
                  <a:lnTo>
                    <a:pt x="479" y="263"/>
                  </a:lnTo>
                  <a:lnTo>
                    <a:pt x="487" y="239"/>
                  </a:lnTo>
                  <a:lnTo>
                    <a:pt x="491" y="217"/>
                  </a:lnTo>
                  <a:lnTo>
                    <a:pt x="493" y="193"/>
                  </a:lnTo>
                  <a:lnTo>
                    <a:pt x="491" y="169"/>
                  </a:lnTo>
                  <a:lnTo>
                    <a:pt x="487" y="147"/>
                  </a:lnTo>
                  <a:lnTo>
                    <a:pt x="479" y="126"/>
                  </a:lnTo>
                  <a:lnTo>
                    <a:pt x="467" y="106"/>
                  </a:lnTo>
                  <a:lnTo>
                    <a:pt x="455" y="86"/>
                  </a:lnTo>
                  <a:lnTo>
                    <a:pt x="439" y="68"/>
                  </a:lnTo>
                  <a:lnTo>
                    <a:pt x="419" y="52"/>
                  </a:lnTo>
                  <a:lnTo>
                    <a:pt x="399" y="36"/>
                  </a:lnTo>
                  <a:lnTo>
                    <a:pt x="375" y="24"/>
                  </a:lnTo>
                  <a:lnTo>
                    <a:pt x="349" y="14"/>
                  </a:lnTo>
                  <a:lnTo>
                    <a:pt x="321" y="6"/>
                  </a:lnTo>
                  <a:lnTo>
                    <a:pt x="289" y="2"/>
                  </a:lnTo>
                  <a:lnTo>
                    <a:pt x="257" y="0"/>
                  </a:lnTo>
                  <a:lnTo>
                    <a:pt x="257" y="0"/>
                  </a:lnTo>
                  <a:lnTo>
                    <a:pt x="223" y="2"/>
                  </a:lnTo>
                  <a:lnTo>
                    <a:pt x="193" y="6"/>
                  </a:lnTo>
                  <a:lnTo>
                    <a:pt x="165" y="14"/>
                  </a:lnTo>
                  <a:lnTo>
                    <a:pt x="139" y="24"/>
                  </a:lnTo>
                  <a:lnTo>
                    <a:pt x="114" y="36"/>
                  </a:lnTo>
                  <a:lnTo>
                    <a:pt x="92" y="52"/>
                  </a:lnTo>
                  <a:lnTo>
                    <a:pt x="74" y="68"/>
                  </a:lnTo>
                  <a:lnTo>
                    <a:pt x="58" y="86"/>
                  </a:lnTo>
                  <a:lnTo>
                    <a:pt x="44" y="106"/>
                  </a:lnTo>
                  <a:lnTo>
                    <a:pt x="34" y="126"/>
                  </a:lnTo>
                  <a:lnTo>
                    <a:pt x="26" y="147"/>
                  </a:lnTo>
                  <a:lnTo>
                    <a:pt x="22" y="169"/>
                  </a:lnTo>
                  <a:lnTo>
                    <a:pt x="20" y="193"/>
                  </a:lnTo>
                  <a:lnTo>
                    <a:pt x="20" y="217"/>
                  </a:lnTo>
                  <a:lnTo>
                    <a:pt x="26" y="239"/>
                  </a:lnTo>
                  <a:lnTo>
                    <a:pt x="32" y="263"/>
                  </a:lnTo>
                  <a:lnTo>
                    <a:pt x="32" y="263"/>
                  </a:lnTo>
                  <a:lnTo>
                    <a:pt x="26" y="263"/>
                  </a:lnTo>
                  <a:lnTo>
                    <a:pt x="26" y="263"/>
                  </a:lnTo>
                  <a:lnTo>
                    <a:pt x="18" y="265"/>
                  </a:lnTo>
                  <a:lnTo>
                    <a:pt x="10" y="269"/>
                  </a:lnTo>
                  <a:lnTo>
                    <a:pt x="6" y="275"/>
                  </a:lnTo>
                  <a:lnTo>
                    <a:pt x="2" y="285"/>
                  </a:lnTo>
                  <a:lnTo>
                    <a:pt x="0" y="295"/>
                  </a:lnTo>
                  <a:lnTo>
                    <a:pt x="0" y="307"/>
                  </a:lnTo>
                  <a:lnTo>
                    <a:pt x="4" y="333"/>
                  </a:lnTo>
                  <a:lnTo>
                    <a:pt x="4" y="333"/>
                  </a:lnTo>
                  <a:lnTo>
                    <a:pt x="8" y="347"/>
                  </a:lnTo>
                  <a:lnTo>
                    <a:pt x="12" y="359"/>
                  </a:lnTo>
                  <a:lnTo>
                    <a:pt x="18" y="371"/>
                  </a:lnTo>
                  <a:lnTo>
                    <a:pt x="26" y="383"/>
                  </a:lnTo>
                  <a:lnTo>
                    <a:pt x="34" y="393"/>
                  </a:lnTo>
                  <a:lnTo>
                    <a:pt x="42" y="401"/>
                  </a:lnTo>
                  <a:lnTo>
                    <a:pt x="52" y="405"/>
                  </a:lnTo>
                  <a:lnTo>
                    <a:pt x="62" y="407"/>
                  </a:lnTo>
                  <a:lnTo>
                    <a:pt x="62" y="40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39" name="Freeform 23">
              <a:extLst>
                <a:ext uri="{FF2B5EF4-FFF2-40B4-BE49-F238E27FC236}">
                  <a16:creationId xmlns:a16="http://schemas.microsoft.com/office/drawing/2014/main" id="{EE2E84C2-1291-7742-B8DF-1CFFDB935D86}"/>
                </a:ext>
              </a:extLst>
            </p:cNvPr>
            <p:cNvSpPr>
              <a:spLocks/>
            </p:cNvSpPr>
            <p:nvPr/>
          </p:nvSpPr>
          <p:spPr bwMode="auto">
            <a:xfrm>
              <a:off x="3250" y="1487"/>
              <a:ext cx="1180" cy="1346"/>
            </a:xfrm>
            <a:custGeom>
              <a:avLst/>
              <a:gdLst>
                <a:gd name="T0" fmla="*/ 1144 w 1180"/>
                <a:gd name="T1" fmla="*/ 1346 h 1346"/>
                <a:gd name="T2" fmla="*/ 1174 w 1180"/>
                <a:gd name="T3" fmla="*/ 1264 h 1346"/>
                <a:gd name="T4" fmla="*/ 1180 w 1180"/>
                <a:gd name="T5" fmla="*/ 1226 h 1346"/>
                <a:gd name="T6" fmla="*/ 1170 w 1180"/>
                <a:gd name="T7" fmla="*/ 1104 h 1346"/>
                <a:gd name="T8" fmla="*/ 1100 w 1180"/>
                <a:gd name="T9" fmla="*/ 759 h 1346"/>
                <a:gd name="T10" fmla="*/ 1086 w 1180"/>
                <a:gd name="T11" fmla="*/ 719 h 1346"/>
                <a:gd name="T12" fmla="*/ 1060 w 1180"/>
                <a:gd name="T13" fmla="*/ 687 h 1346"/>
                <a:gd name="T14" fmla="*/ 1036 w 1180"/>
                <a:gd name="T15" fmla="*/ 673 h 1346"/>
                <a:gd name="T16" fmla="*/ 850 w 1180"/>
                <a:gd name="T17" fmla="*/ 619 h 1346"/>
                <a:gd name="T18" fmla="*/ 736 w 1180"/>
                <a:gd name="T19" fmla="*/ 601 h 1346"/>
                <a:gd name="T20" fmla="*/ 744 w 1180"/>
                <a:gd name="T21" fmla="*/ 543 h 1346"/>
                <a:gd name="T22" fmla="*/ 772 w 1180"/>
                <a:gd name="T23" fmla="*/ 493 h 1346"/>
                <a:gd name="T24" fmla="*/ 794 w 1180"/>
                <a:gd name="T25" fmla="*/ 437 h 1346"/>
                <a:gd name="T26" fmla="*/ 808 w 1180"/>
                <a:gd name="T27" fmla="*/ 435 h 1346"/>
                <a:gd name="T28" fmla="*/ 838 w 1180"/>
                <a:gd name="T29" fmla="*/ 411 h 1346"/>
                <a:gd name="T30" fmla="*/ 856 w 1180"/>
                <a:gd name="T31" fmla="*/ 371 h 1346"/>
                <a:gd name="T32" fmla="*/ 864 w 1180"/>
                <a:gd name="T33" fmla="*/ 330 h 1346"/>
                <a:gd name="T34" fmla="*/ 858 w 1180"/>
                <a:gd name="T35" fmla="*/ 296 h 1346"/>
                <a:gd name="T36" fmla="*/ 836 w 1180"/>
                <a:gd name="T37" fmla="*/ 282 h 1346"/>
                <a:gd name="T38" fmla="*/ 830 w 1180"/>
                <a:gd name="T39" fmla="*/ 282 h 1346"/>
                <a:gd name="T40" fmla="*/ 842 w 1180"/>
                <a:gd name="T41" fmla="*/ 208 h 1346"/>
                <a:gd name="T42" fmla="*/ 828 w 1180"/>
                <a:gd name="T43" fmla="*/ 134 h 1346"/>
                <a:gd name="T44" fmla="*/ 784 w 1180"/>
                <a:gd name="T45" fmla="*/ 72 h 1346"/>
                <a:gd name="T46" fmla="*/ 716 w 1180"/>
                <a:gd name="T47" fmla="*/ 26 h 1346"/>
                <a:gd name="T48" fmla="*/ 626 w 1180"/>
                <a:gd name="T49" fmla="*/ 2 h 1346"/>
                <a:gd name="T50" fmla="*/ 554 w 1180"/>
                <a:gd name="T51" fmla="*/ 2 h 1346"/>
                <a:gd name="T52" fmla="*/ 464 w 1180"/>
                <a:gd name="T53" fmla="*/ 26 h 1346"/>
                <a:gd name="T54" fmla="*/ 396 w 1180"/>
                <a:gd name="T55" fmla="*/ 72 h 1346"/>
                <a:gd name="T56" fmla="*/ 352 w 1180"/>
                <a:gd name="T57" fmla="*/ 134 h 1346"/>
                <a:gd name="T58" fmla="*/ 336 w 1180"/>
                <a:gd name="T59" fmla="*/ 208 h 1346"/>
                <a:gd name="T60" fmla="*/ 350 w 1180"/>
                <a:gd name="T61" fmla="*/ 282 h 1346"/>
                <a:gd name="T62" fmla="*/ 344 w 1180"/>
                <a:gd name="T63" fmla="*/ 282 h 1346"/>
                <a:gd name="T64" fmla="*/ 322 w 1180"/>
                <a:gd name="T65" fmla="*/ 296 h 1346"/>
                <a:gd name="T66" fmla="*/ 316 w 1180"/>
                <a:gd name="T67" fmla="*/ 330 h 1346"/>
                <a:gd name="T68" fmla="*/ 324 w 1180"/>
                <a:gd name="T69" fmla="*/ 371 h 1346"/>
                <a:gd name="T70" fmla="*/ 342 w 1180"/>
                <a:gd name="T71" fmla="*/ 411 h 1346"/>
                <a:gd name="T72" fmla="*/ 372 w 1180"/>
                <a:gd name="T73" fmla="*/ 435 h 1346"/>
                <a:gd name="T74" fmla="*/ 386 w 1180"/>
                <a:gd name="T75" fmla="*/ 437 h 1346"/>
                <a:gd name="T76" fmla="*/ 408 w 1180"/>
                <a:gd name="T77" fmla="*/ 493 h 1346"/>
                <a:gd name="T78" fmla="*/ 436 w 1180"/>
                <a:gd name="T79" fmla="*/ 543 h 1346"/>
                <a:gd name="T80" fmla="*/ 444 w 1180"/>
                <a:gd name="T81" fmla="*/ 601 h 1346"/>
                <a:gd name="T82" fmla="*/ 330 w 1180"/>
                <a:gd name="T83" fmla="*/ 619 h 1346"/>
                <a:gd name="T84" fmla="*/ 144 w 1180"/>
                <a:gd name="T85" fmla="*/ 673 h 1346"/>
                <a:gd name="T86" fmla="*/ 120 w 1180"/>
                <a:gd name="T87" fmla="*/ 687 h 1346"/>
                <a:gd name="T88" fmla="*/ 94 w 1180"/>
                <a:gd name="T89" fmla="*/ 719 h 1346"/>
                <a:gd name="T90" fmla="*/ 80 w 1180"/>
                <a:gd name="T91" fmla="*/ 759 h 1346"/>
                <a:gd name="T92" fmla="*/ 10 w 1180"/>
                <a:gd name="T93" fmla="*/ 1104 h 1346"/>
                <a:gd name="T94" fmla="*/ 0 w 1180"/>
                <a:gd name="T95" fmla="*/ 1226 h 1346"/>
                <a:gd name="T96" fmla="*/ 4 w 1180"/>
                <a:gd name="T97" fmla="*/ 1264 h 1346"/>
                <a:gd name="T98" fmla="*/ 36 w 1180"/>
                <a:gd name="T99" fmla="*/ 1346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80" h="1346">
                  <a:moveTo>
                    <a:pt x="36" y="1346"/>
                  </a:moveTo>
                  <a:lnTo>
                    <a:pt x="1144" y="1346"/>
                  </a:lnTo>
                  <a:lnTo>
                    <a:pt x="1144" y="1346"/>
                  </a:lnTo>
                  <a:lnTo>
                    <a:pt x="1156" y="1316"/>
                  </a:lnTo>
                  <a:lnTo>
                    <a:pt x="1168" y="1288"/>
                  </a:lnTo>
                  <a:lnTo>
                    <a:pt x="1174" y="1264"/>
                  </a:lnTo>
                  <a:lnTo>
                    <a:pt x="1180" y="1242"/>
                  </a:lnTo>
                  <a:lnTo>
                    <a:pt x="1180" y="1242"/>
                  </a:lnTo>
                  <a:lnTo>
                    <a:pt x="1180" y="1226"/>
                  </a:lnTo>
                  <a:lnTo>
                    <a:pt x="1180" y="1208"/>
                  </a:lnTo>
                  <a:lnTo>
                    <a:pt x="1178" y="1160"/>
                  </a:lnTo>
                  <a:lnTo>
                    <a:pt x="1170" y="1104"/>
                  </a:lnTo>
                  <a:lnTo>
                    <a:pt x="1158" y="1040"/>
                  </a:lnTo>
                  <a:lnTo>
                    <a:pt x="1130" y="901"/>
                  </a:lnTo>
                  <a:lnTo>
                    <a:pt x="1100" y="759"/>
                  </a:lnTo>
                  <a:lnTo>
                    <a:pt x="1100" y="759"/>
                  </a:lnTo>
                  <a:lnTo>
                    <a:pt x="1092" y="733"/>
                  </a:lnTo>
                  <a:lnTo>
                    <a:pt x="1086" y="719"/>
                  </a:lnTo>
                  <a:lnTo>
                    <a:pt x="1078" y="707"/>
                  </a:lnTo>
                  <a:lnTo>
                    <a:pt x="1070" y="695"/>
                  </a:lnTo>
                  <a:lnTo>
                    <a:pt x="1060" y="687"/>
                  </a:lnTo>
                  <a:lnTo>
                    <a:pt x="1048" y="679"/>
                  </a:lnTo>
                  <a:lnTo>
                    <a:pt x="1036" y="673"/>
                  </a:lnTo>
                  <a:lnTo>
                    <a:pt x="1036" y="673"/>
                  </a:lnTo>
                  <a:lnTo>
                    <a:pt x="962" y="651"/>
                  </a:lnTo>
                  <a:lnTo>
                    <a:pt x="888" y="629"/>
                  </a:lnTo>
                  <a:lnTo>
                    <a:pt x="850" y="619"/>
                  </a:lnTo>
                  <a:lnTo>
                    <a:pt x="812" y="611"/>
                  </a:lnTo>
                  <a:lnTo>
                    <a:pt x="774" y="605"/>
                  </a:lnTo>
                  <a:lnTo>
                    <a:pt x="736" y="601"/>
                  </a:lnTo>
                  <a:lnTo>
                    <a:pt x="736" y="601"/>
                  </a:lnTo>
                  <a:lnTo>
                    <a:pt x="740" y="559"/>
                  </a:lnTo>
                  <a:lnTo>
                    <a:pt x="744" y="543"/>
                  </a:lnTo>
                  <a:lnTo>
                    <a:pt x="744" y="543"/>
                  </a:lnTo>
                  <a:lnTo>
                    <a:pt x="758" y="519"/>
                  </a:lnTo>
                  <a:lnTo>
                    <a:pt x="772" y="493"/>
                  </a:lnTo>
                  <a:lnTo>
                    <a:pt x="784" y="465"/>
                  </a:lnTo>
                  <a:lnTo>
                    <a:pt x="794" y="437"/>
                  </a:lnTo>
                  <a:lnTo>
                    <a:pt x="794" y="437"/>
                  </a:lnTo>
                  <a:lnTo>
                    <a:pt x="796" y="437"/>
                  </a:lnTo>
                  <a:lnTo>
                    <a:pt x="796" y="437"/>
                  </a:lnTo>
                  <a:lnTo>
                    <a:pt x="808" y="435"/>
                  </a:lnTo>
                  <a:lnTo>
                    <a:pt x="818" y="429"/>
                  </a:lnTo>
                  <a:lnTo>
                    <a:pt x="828" y="421"/>
                  </a:lnTo>
                  <a:lnTo>
                    <a:pt x="838" y="411"/>
                  </a:lnTo>
                  <a:lnTo>
                    <a:pt x="844" y="399"/>
                  </a:lnTo>
                  <a:lnTo>
                    <a:pt x="852" y="385"/>
                  </a:lnTo>
                  <a:lnTo>
                    <a:pt x="856" y="371"/>
                  </a:lnTo>
                  <a:lnTo>
                    <a:pt x="860" y="357"/>
                  </a:lnTo>
                  <a:lnTo>
                    <a:pt x="860" y="357"/>
                  </a:lnTo>
                  <a:lnTo>
                    <a:pt x="864" y="330"/>
                  </a:lnTo>
                  <a:lnTo>
                    <a:pt x="864" y="316"/>
                  </a:lnTo>
                  <a:lnTo>
                    <a:pt x="862" y="306"/>
                  </a:lnTo>
                  <a:lnTo>
                    <a:pt x="858" y="296"/>
                  </a:lnTo>
                  <a:lnTo>
                    <a:pt x="854" y="288"/>
                  </a:lnTo>
                  <a:lnTo>
                    <a:pt x="846" y="284"/>
                  </a:lnTo>
                  <a:lnTo>
                    <a:pt x="836" y="282"/>
                  </a:lnTo>
                  <a:lnTo>
                    <a:pt x="836" y="282"/>
                  </a:lnTo>
                  <a:lnTo>
                    <a:pt x="830" y="282"/>
                  </a:lnTo>
                  <a:lnTo>
                    <a:pt x="830" y="282"/>
                  </a:lnTo>
                  <a:lnTo>
                    <a:pt x="838" y="258"/>
                  </a:lnTo>
                  <a:lnTo>
                    <a:pt x="842" y="232"/>
                  </a:lnTo>
                  <a:lnTo>
                    <a:pt x="842" y="208"/>
                  </a:lnTo>
                  <a:lnTo>
                    <a:pt x="840" y="182"/>
                  </a:lnTo>
                  <a:lnTo>
                    <a:pt x="836" y="158"/>
                  </a:lnTo>
                  <a:lnTo>
                    <a:pt x="828" y="134"/>
                  </a:lnTo>
                  <a:lnTo>
                    <a:pt x="816" y="112"/>
                  </a:lnTo>
                  <a:lnTo>
                    <a:pt x="802" y="92"/>
                  </a:lnTo>
                  <a:lnTo>
                    <a:pt x="784" y="72"/>
                  </a:lnTo>
                  <a:lnTo>
                    <a:pt x="764" y="54"/>
                  </a:lnTo>
                  <a:lnTo>
                    <a:pt x="742" y="38"/>
                  </a:lnTo>
                  <a:lnTo>
                    <a:pt x="716" y="26"/>
                  </a:lnTo>
                  <a:lnTo>
                    <a:pt x="688" y="14"/>
                  </a:lnTo>
                  <a:lnTo>
                    <a:pt x="658" y="6"/>
                  </a:lnTo>
                  <a:lnTo>
                    <a:pt x="626" y="2"/>
                  </a:lnTo>
                  <a:lnTo>
                    <a:pt x="590" y="0"/>
                  </a:lnTo>
                  <a:lnTo>
                    <a:pt x="590" y="0"/>
                  </a:lnTo>
                  <a:lnTo>
                    <a:pt x="554" y="2"/>
                  </a:lnTo>
                  <a:lnTo>
                    <a:pt x="522" y="6"/>
                  </a:lnTo>
                  <a:lnTo>
                    <a:pt x="492" y="14"/>
                  </a:lnTo>
                  <a:lnTo>
                    <a:pt x="464" y="26"/>
                  </a:lnTo>
                  <a:lnTo>
                    <a:pt x="438" y="38"/>
                  </a:lnTo>
                  <a:lnTo>
                    <a:pt x="416" y="54"/>
                  </a:lnTo>
                  <a:lnTo>
                    <a:pt x="396" y="72"/>
                  </a:lnTo>
                  <a:lnTo>
                    <a:pt x="378" y="92"/>
                  </a:lnTo>
                  <a:lnTo>
                    <a:pt x="364" y="112"/>
                  </a:lnTo>
                  <a:lnTo>
                    <a:pt x="352" y="134"/>
                  </a:lnTo>
                  <a:lnTo>
                    <a:pt x="344" y="158"/>
                  </a:lnTo>
                  <a:lnTo>
                    <a:pt x="338" y="182"/>
                  </a:lnTo>
                  <a:lnTo>
                    <a:pt x="336" y="208"/>
                  </a:lnTo>
                  <a:lnTo>
                    <a:pt x="338" y="232"/>
                  </a:lnTo>
                  <a:lnTo>
                    <a:pt x="342" y="258"/>
                  </a:lnTo>
                  <a:lnTo>
                    <a:pt x="350" y="282"/>
                  </a:lnTo>
                  <a:lnTo>
                    <a:pt x="350" y="282"/>
                  </a:lnTo>
                  <a:lnTo>
                    <a:pt x="344" y="282"/>
                  </a:lnTo>
                  <a:lnTo>
                    <a:pt x="344" y="282"/>
                  </a:lnTo>
                  <a:lnTo>
                    <a:pt x="334" y="284"/>
                  </a:lnTo>
                  <a:lnTo>
                    <a:pt x="326" y="288"/>
                  </a:lnTo>
                  <a:lnTo>
                    <a:pt x="322" y="296"/>
                  </a:lnTo>
                  <a:lnTo>
                    <a:pt x="318" y="306"/>
                  </a:lnTo>
                  <a:lnTo>
                    <a:pt x="316" y="316"/>
                  </a:lnTo>
                  <a:lnTo>
                    <a:pt x="316" y="330"/>
                  </a:lnTo>
                  <a:lnTo>
                    <a:pt x="320" y="357"/>
                  </a:lnTo>
                  <a:lnTo>
                    <a:pt x="320" y="357"/>
                  </a:lnTo>
                  <a:lnTo>
                    <a:pt x="324" y="371"/>
                  </a:lnTo>
                  <a:lnTo>
                    <a:pt x="328" y="385"/>
                  </a:lnTo>
                  <a:lnTo>
                    <a:pt x="334" y="399"/>
                  </a:lnTo>
                  <a:lnTo>
                    <a:pt x="342" y="411"/>
                  </a:lnTo>
                  <a:lnTo>
                    <a:pt x="352" y="421"/>
                  </a:lnTo>
                  <a:lnTo>
                    <a:pt x="362" y="429"/>
                  </a:lnTo>
                  <a:lnTo>
                    <a:pt x="372" y="435"/>
                  </a:lnTo>
                  <a:lnTo>
                    <a:pt x="384" y="437"/>
                  </a:lnTo>
                  <a:lnTo>
                    <a:pt x="384" y="437"/>
                  </a:lnTo>
                  <a:lnTo>
                    <a:pt x="386" y="437"/>
                  </a:lnTo>
                  <a:lnTo>
                    <a:pt x="386" y="437"/>
                  </a:lnTo>
                  <a:lnTo>
                    <a:pt x="396" y="465"/>
                  </a:lnTo>
                  <a:lnTo>
                    <a:pt x="408" y="493"/>
                  </a:lnTo>
                  <a:lnTo>
                    <a:pt x="422" y="519"/>
                  </a:lnTo>
                  <a:lnTo>
                    <a:pt x="436" y="543"/>
                  </a:lnTo>
                  <a:lnTo>
                    <a:pt x="436" y="543"/>
                  </a:lnTo>
                  <a:lnTo>
                    <a:pt x="440" y="559"/>
                  </a:lnTo>
                  <a:lnTo>
                    <a:pt x="444" y="601"/>
                  </a:lnTo>
                  <a:lnTo>
                    <a:pt x="444" y="601"/>
                  </a:lnTo>
                  <a:lnTo>
                    <a:pt x="406" y="605"/>
                  </a:lnTo>
                  <a:lnTo>
                    <a:pt x="368" y="611"/>
                  </a:lnTo>
                  <a:lnTo>
                    <a:pt x="330" y="619"/>
                  </a:lnTo>
                  <a:lnTo>
                    <a:pt x="292" y="629"/>
                  </a:lnTo>
                  <a:lnTo>
                    <a:pt x="218" y="651"/>
                  </a:lnTo>
                  <a:lnTo>
                    <a:pt x="144" y="673"/>
                  </a:lnTo>
                  <a:lnTo>
                    <a:pt x="144" y="673"/>
                  </a:lnTo>
                  <a:lnTo>
                    <a:pt x="132" y="679"/>
                  </a:lnTo>
                  <a:lnTo>
                    <a:pt x="120" y="687"/>
                  </a:lnTo>
                  <a:lnTo>
                    <a:pt x="110" y="695"/>
                  </a:lnTo>
                  <a:lnTo>
                    <a:pt x="102" y="707"/>
                  </a:lnTo>
                  <a:lnTo>
                    <a:pt x="94" y="719"/>
                  </a:lnTo>
                  <a:lnTo>
                    <a:pt x="88" y="733"/>
                  </a:lnTo>
                  <a:lnTo>
                    <a:pt x="80" y="759"/>
                  </a:lnTo>
                  <a:lnTo>
                    <a:pt x="80" y="759"/>
                  </a:lnTo>
                  <a:lnTo>
                    <a:pt x="50" y="901"/>
                  </a:lnTo>
                  <a:lnTo>
                    <a:pt x="22" y="1040"/>
                  </a:lnTo>
                  <a:lnTo>
                    <a:pt x="10" y="1104"/>
                  </a:lnTo>
                  <a:lnTo>
                    <a:pt x="2" y="1160"/>
                  </a:lnTo>
                  <a:lnTo>
                    <a:pt x="0" y="1208"/>
                  </a:lnTo>
                  <a:lnTo>
                    <a:pt x="0" y="1226"/>
                  </a:lnTo>
                  <a:lnTo>
                    <a:pt x="0" y="1242"/>
                  </a:lnTo>
                  <a:lnTo>
                    <a:pt x="0" y="1242"/>
                  </a:lnTo>
                  <a:lnTo>
                    <a:pt x="4" y="1264"/>
                  </a:lnTo>
                  <a:lnTo>
                    <a:pt x="12" y="1288"/>
                  </a:lnTo>
                  <a:lnTo>
                    <a:pt x="24" y="1316"/>
                  </a:lnTo>
                  <a:lnTo>
                    <a:pt x="36" y="1346"/>
                  </a:lnTo>
                  <a:lnTo>
                    <a:pt x="36" y="134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sp>
          <p:nvSpPr>
            <p:cNvPr id="40" name="Freeform 24">
              <a:extLst>
                <a:ext uri="{FF2B5EF4-FFF2-40B4-BE49-F238E27FC236}">
                  <a16:creationId xmlns:a16="http://schemas.microsoft.com/office/drawing/2014/main" id="{B7D5ADD9-2106-484C-8A4F-6A32482D5B97}"/>
                </a:ext>
              </a:extLst>
            </p:cNvPr>
            <p:cNvSpPr>
              <a:spLocks/>
            </p:cNvSpPr>
            <p:nvPr/>
          </p:nvSpPr>
          <p:spPr bwMode="auto">
            <a:xfrm>
              <a:off x="2481" y="1685"/>
              <a:ext cx="807" cy="1148"/>
            </a:xfrm>
            <a:custGeom>
              <a:avLst/>
              <a:gdLst>
                <a:gd name="T0" fmla="*/ 664 w 807"/>
                <a:gd name="T1" fmla="*/ 1148 h 1148"/>
                <a:gd name="T2" fmla="*/ 630 w 807"/>
                <a:gd name="T3" fmla="*/ 1046 h 1148"/>
                <a:gd name="T4" fmla="*/ 626 w 807"/>
                <a:gd name="T5" fmla="*/ 1028 h 1148"/>
                <a:gd name="T6" fmla="*/ 626 w 807"/>
                <a:gd name="T7" fmla="*/ 980 h 1148"/>
                <a:gd name="T8" fmla="*/ 642 w 807"/>
                <a:gd name="T9" fmla="*/ 822 h 1148"/>
                <a:gd name="T10" fmla="*/ 683 w 807"/>
                <a:gd name="T11" fmla="*/ 575 h 1148"/>
                <a:gd name="T12" fmla="*/ 695 w 807"/>
                <a:gd name="T13" fmla="*/ 507 h 1148"/>
                <a:gd name="T14" fmla="*/ 721 w 807"/>
                <a:gd name="T15" fmla="*/ 459 h 1148"/>
                <a:gd name="T16" fmla="*/ 741 w 807"/>
                <a:gd name="T17" fmla="*/ 407 h 1148"/>
                <a:gd name="T18" fmla="*/ 745 w 807"/>
                <a:gd name="T19" fmla="*/ 407 h 1148"/>
                <a:gd name="T20" fmla="*/ 755 w 807"/>
                <a:gd name="T21" fmla="*/ 405 h 1148"/>
                <a:gd name="T22" fmla="*/ 773 w 807"/>
                <a:gd name="T23" fmla="*/ 393 h 1148"/>
                <a:gd name="T24" fmla="*/ 789 w 807"/>
                <a:gd name="T25" fmla="*/ 371 h 1148"/>
                <a:gd name="T26" fmla="*/ 799 w 807"/>
                <a:gd name="T27" fmla="*/ 347 h 1148"/>
                <a:gd name="T28" fmla="*/ 803 w 807"/>
                <a:gd name="T29" fmla="*/ 333 h 1148"/>
                <a:gd name="T30" fmla="*/ 807 w 807"/>
                <a:gd name="T31" fmla="*/ 295 h 1148"/>
                <a:gd name="T32" fmla="*/ 801 w 807"/>
                <a:gd name="T33" fmla="*/ 275 h 1148"/>
                <a:gd name="T34" fmla="*/ 789 w 807"/>
                <a:gd name="T35" fmla="*/ 265 h 1148"/>
                <a:gd name="T36" fmla="*/ 781 w 807"/>
                <a:gd name="T37" fmla="*/ 263 h 1148"/>
                <a:gd name="T38" fmla="*/ 775 w 807"/>
                <a:gd name="T39" fmla="*/ 263 h 1148"/>
                <a:gd name="T40" fmla="*/ 785 w 807"/>
                <a:gd name="T41" fmla="*/ 217 h 1148"/>
                <a:gd name="T42" fmla="*/ 785 w 807"/>
                <a:gd name="T43" fmla="*/ 169 h 1148"/>
                <a:gd name="T44" fmla="*/ 773 w 807"/>
                <a:gd name="T45" fmla="*/ 126 h 1148"/>
                <a:gd name="T46" fmla="*/ 749 w 807"/>
                <a:gd name="T47" fmla="*/ 86 h 1148"/>
                <a:gd name="T48" fmla="*/ 715 w 807"/>
                <a:gd name="T49" fmla="*/ 52 h 1148"/>
                <a:gd name="T50" fmla="*/ 668 w 807"/>
                <a:gd name="T51" fmla="*/ 24 h 1148"/>
                <a:gd name="T52" fmla="*/ 614 w 807"/>
                <a:gd name="T53" fmla="*/ 6 h 1148"/>
                <a:gd name="T54" fmla="*/ 550 w 807"/>
                <a:gd name="T55" fmla="*/ 0 h 1148"/>
                <a:gd name="T56" fmla="*/ 518 w 807"/>
                <a:gd name="T57" fmla="*/ 2 h 1148"/>
                <a:gd name="T58" fmla="*/ 458 w 807"/>
                <a:gd name="T59" fmla="*/ 14 h 1148"/>
                <a:gd name="T60" fmla="*/ 408 w 807"/>
                <a:gd name="T61" fmla="*/ 36 h 1148"/>
                <a:gd name="T62" fmla="*/ 368 w 807"/>
                <a:gd name="T63" fmla="*/ 68 h 1148"/>
                <a:gd name="T64" fmla="*/ 340 w 807"/>
                <a:gd name="T65" fmla="*/ 106 h 1148"/>
                <a:gd name="T66" fmla="*/ 320 w 807"/>
                <a:gd name="T67" fmla="*/ 147 h 1148"/>
                <a:gd name="T68" fmla="*/ 314 w 807"/>
                <a:gd name="T69" fmla="*/ 193 h 1148"/>
                <a:gd name="T70" fmla="*/ 320 w 807"/>
                <a:gd name="T71" fmla="*/ 239 h 1148"/>
                <a:gd name="T72" fmla="*/ 328 w 807"/>
                <a:gd name="T73" fmla="*/ 263 h 1148"/>
                <a:gd name="T74" fmla="*/ 322 w 807"/>
                <a:gd name="T75" fmla="*/ 263 h 1148"/>
                <a:gd name="T76" fmla="*/ 306 w 807"/>
                <a:gd name="T77" fmla="*/ 269 h 1148"/>
                <a:gd name="T78" fmla="*/ 296 w 807"/>
                <a:gd name="T79" fmla="*/ 285 h 1148"/>
                <a:gd name="T80" fmla="*/ 296 w 807"/>
                <a:gd name="T81" fmla="*/ 307 h 1148"/>
                <a:gd name="T82" fmla="*/ 298 w 807"/>
                <a:gd name="T83" fmla="*/ 333 h 1148"/>
                <a:gd name="T84" fmla="*/ 306 w 807"/>
                <a:gd name="T85" fmla="*/ 359 h 1148"/>
                <a:gd name="T86" fmla="*/ 320 w 807"/>
                <a:gd name="T87" fmla="*/ 383 h 1148"/>
                <a:gd name="T88" fmla="*/ 338 w 807"/>
                <a:gd name="T89" fmla="*/ 401 h 1148"/>
                <a:gd name="T90" fmla="*/ 358 w 807"/>
                <a:gd name="T91" fmla="*/ 407 h 1148"/>
                <a:gd name="T92" fmla="*/ 360 w 807"/>
                <a:gd name="T93" fmla="*/ 407 h 1148"/>
                <a:gd name="T94" fmla="*/ 370 w 807"/>
                <a:gd name="T95" fmla="*/ 433 h 1148"/>
                <a:gd name="T96" fmla="*/ 394 w 807"/>
                <a:gd name="T97" fmla="*/ 483 h 1148"/>
                <a:gd name="T98" fmla="*/ 406 w 807"/>
                <a:gd name="T99" fmla="*/ 507 h 1148"/>
                <a:gd name="T100" fmla="*/ 414 w 807"/>
                <a:gd name="T101" fmla="*/ 561 h 1148"/>
                <a:gd name="T102" fmla="*/ 378 w 807"/>
                <a:gd name="T103" fmla="*/ 565 h 1148"/>
                <a:gd name="T104" fmla="*/ 308 w 807"/>
                <a:gd name="T105" fmla="*/ 579 h 1148"/>
                <a:gd name="T106" fmla="*/ 204 w 807"/>
                <a:gd name="T107" fmla="*/ 607 h 1148"/>
                <a:gd name="T108" fmla="*/ 134 w 807"/>
                <a:gd name="T109" fmla="*/ 629 h 1148"/>
                <a:gd name="T110" fmla="*/ 112 w 807"/>
                <a:gd name="T111" fmla="*/ 641 h 1148"/>
                <a:gd name="T112" fmla="*/ 96 w 807"/>
                <a:gd name="T113" fmla="*/ 659 h 1148"/>
                <a:gd name="T114" fmla="*/ 82 w 807"/>
                <a:gd name="T115" fmla="*/ 683 h 1148"/>
                <a:gd name="T116" fmla="*/ 76 w 807"/>
                <a:gd name="T117" fmla="*/ 707 h 1148"/>
                <a:gd name="T118" fmla="*/ 22 w 807"/>
                <a:gd name="T119" fmla="*/ 958 h 1148"/>
                <a:gd name="T120" fmla="*/ 6 w 807"/>
                <a:gd name="T121" fmla="*/ 1068 h 1148"/>
                <a:gd name="T122" fmla="*/ 0 w 807"/>
                <a:gd name="T123" fmla="*/ 1148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07" h="1148">
                  <a:moveTo>
                    <a:pt x="664" y="1148"/>
                  </a:moveTo>
                  <a:lnTo>
                    <a:pt x="664" y="1148"/>
                  </a:lnTo>
                  <a:lnTo>
                    <a:pt x="638" y="1072"/>
                  </a:lnTo>
                  <a:lnTo>
                    <a:pt x="630" y="1046"/>
                  </a:lnTo>
                  <a:lnTo>
                    <a:pt x="626" y="1028"/>
                  </a:lnTo>
                  <a:lnTo>
                    <a:pt x="626" y="1028"/>
                  </a:lnTo>
                  <a:lnTo>
                    <a:pt x="626" y="1006"/>
                  </a:lnTo>
                  <a:lnTo>
                    <a:pt x="626" y="980"/>
                  </a:lnTo>
                  <a:lnTo>
                    <a:pt x="632" y="908"/>
                  </a:lnTo>
                  <a:lnTo>
                    <a:pt x="642" y="822"/>
                  </a:lnTo>
                  <a:lnTo>
                    <a:pt x="656" y="733"/>
                  </a:lnTo>
                  <a:lnTo>
                    <a:pt x="683" y="575"/>
                  </a:lnTo>
                  <a:lnTo>
                    <a:pt x="695" y="507"/>
                  </a:lnTo>
                  <a:lnTo>
                    <a:pt x="695" y="507"/>
                  </a:lnTo>
                  <a:lnTo>
                    <a:pt x="709" y="483"/>
                  </a:lnTo>
                  <a:lnTo>
                    <a:pt x="721" y="459"/>
                  </a:lnTo>
                  <a:lnTo>
                    <a:pt x="731" y="433"/>
                  </a:lnTo>
                  <a:lnTo>
                    <a:pt x="741" y="407"/>
                  </a:lnTo>
                  <a:lnTo>
                    <a:pt x="741" y="407"/>
                  </a:lnTo>
                  <a:lnTo>
                    <a:pt x="745" y="407"/>
                  </a:lnTo>
                  <a:lnTo>
                    <a:pt x="745" y="407"/>
                  </a:lnTo>
                  <a:lnTo>
                    <a:pt x="755" y="405"/>
                  </a:lnTo>
                  <a:lnTo>
                    <a:pt x="765" y="401"/>
                  </a:lnTo>
                  <a:lnTo>
                    <a:pt x="773" y="393"/>
                  </a:lnTo>
                  <a:lnTo>
                    <a:pt x="781" y="383"/>
                  </a:lnTo>
                  <a:lnTo>
                    <a:pt x="789" y="371"/>
                  </a:lnTo>
                  <a:lnTo>
                    <a:pt x="795" y="359"/>
                  </a:lnTo>
                  <a:lnTo>
                    <a:pt x="799" y="347"/>
                  </a:lnTo>
                  <a:lnTo>
                    <a:pt x="803" y="333"/>
                  </a:lnTo>
                  <a:lnTo>
                    <a:pt x="803" y="333"/>
                  </a:lnTo>
                  <a:lnTo>
                    <a:pt x="807" y="307"/>
                  </a:lnTo>
                  <a:lnTo>
                    <a:pt x="807" y="295"/>
                  </a:lnTo>
                  <a:lnTo>
                    <a:pt x="805" y="285"/>
                  </a:lnTo>
                  <a:lnTo>
                    <a:pt x="801" y="275"/>
                  </a:lnTo>
                  <a:lnTo>
                    <a:pt x="797" y="269"/>
                  </a:lnTo>
                  <a:lnTo>
                    <a:pt x="789" y="265"/>
                  </a:lnTo>
                  <a:lnTo>
                    <a:pt x="781" y="263"/>
                  </a:lnTo>
                  <a:lnTo>
                    <a:pt x="781" y="263"/>
                  </a:lnTo>
                  <a:lnTo>
                    <a:pt x="775" y="263"/>
                  </a:lnTo>
                  <a:lnTo>
                    <a:pt x="775" y="263"/>
                  </a:lnTo>
                  <a:lnTo>
                    <a:pt x="781" y="239"/>
                  </a:lnTo>
                  <a:lnTo>
                    <a:pt x="785" y="217"/>
                  </a:lnTo>
                  <a:lnTo>
                    <a:pt x="787" y="193"/>
                  </a:lnTo>
                  <a:lnTo>
                    <a:pt x="785" y="169"/>
                  </a:lnTo>
                  <a:lnTo>
                    <a:pt x="781" y="147"/>
                  </a:lnTo>
                  <a:lnTo>
                    <a:pt x="773" y="126"/>
                  </a:lnTo>
                  <a:lnTo>
                    <a:pt x="763" y="106"/>
                  </a:lnTo>
                  <a:lnTo>
                    <a:pt x="749" y="86"/>
                  </a:lnTo>
                  <a:lnTo>
                    <a:pt x="733" y="68"/>
                  </a:lnTo>
                  <a:lnTo>
                    <a:pt x="715" y="52"/>
                  </a:lnTo>
                  <a:lnTo>
                    <a:pt x="693" y="36"/>
                  </a:lnTo>
                  <a:lnTo>
                    <a:pt x="668" y="24"/>
                  </a:lnTo>
                  <a:lnTo>
                    <a:pt x="642" y="14"/>
                  </a:lnTo>
                  <a:lnTo>
                    <a:pt x="614" y="6"/>
                  </a:lnTo>
                  <a:lnTo>
                    <a:pt x="584" y="2"/>
                  </a:lnTo>
                  <a:lnTo>
                    <a:pt x="550" y="0"/>
                  </a:lnTo>
                  <a:lnTo>
                    <a:pt x="550" y="0"/>
                  </a:lnTo>
                  <a:lnTo>
                    <a:pt x="518" y="2"/>
                  </a:lnTo>
                  <a:lnTo>
                    <a:pt x="486" y="6"/>
                  </a:lnTo>
                  <a:lnTo>
                    <a:pt x="458" y="14"/>
                  </a:lnTo>
                  <a:lnTo>
                    <a:pt x="432" y="24"/>
                  </a:lnTo>
                  <a:lnTo>
                    <a:pt x="408" y="36"/>
                  </a:lnTo>
                  <a:lnTo>
                    <a:pt x="388" y="52"/>
                  </a:lnTo>
                  <a:lnTo>
                    <a:pt x="368" y="68"/>
                  </a:lnTo>
                  <a:lnTo>
                    <a:pt x="352" y="86"/>
                  </a:lnTo>
                  <a:lnTo>
                    <a:pt x="340" y="106"/>
                  </a:lnTo>
                  <a:lnTo>
                    <a:pt x="328" y="126"/>
                  </a:lnTo>
                  <a:lnTo>
                    <a:pt x="320" y="147"/>
                  </a:lnTo>
                  <a:lnTo>
                    <a:pt x="316" y="169"/>
                  </a:lnTo>
                  <a:lnTo>
                    <a:pt x="314" y="193"/>
                  </a:lnTo>
                  <a:lnTo>
                    <a:pt x="316" y="217"/>
                  </a:lnTo>
                  <a:lnTo>
                    <a:pt x="320" y="239"/>
                  </a:lnTo>
                  <a:lnTo>
                    <a:pt x="328" y="263"/>
                  </a:lnTo>
                  <a:lnTo>
                    <a:pt x="328" y="263"/>
                  </a:lnTo>
                  <a:lnTo>
                    <a:pt x="322" y="263"/>
                  </a:lnTo>
                  <a:lnTo>
                    <a:pt x="322" y="263"/>
                  </a:lnTo>
                  <a:lnTo>
                    <a:pt x="312" y="265"/>
                  </a:lnTo>
                  <a:lnTo>
                    <a:pt x="306" y="269"/>
                  </a:lnTo>
                  <a:lnTo>
                    <a:pt x="300" y="275"/>
                  </a:lnTo>
                  <a:lnTo>
                    <a:pt x="296" y="285"/>
                  </a:lnTo>
                  <a:lnTo>
                    <a:pt x="296" y="295"/>
                  </a:lnTo>
                  <a:lnTo>
                    <a:pt x="296" y="307"/>
                  </a:lnTo>
                  <a:lnTo>
                    <a:pt x="298" y="333"/>
                  </a:lnTo>
                  <a:lnTo>
                    <a:pt x="298" y="333"/>
                  </a:lnTo>
                  <a:lnTo>
                    <a:pt x="302" y="347"/>
                  </a:lnTo>
                  <a:lnTo>
                    <a:pt x="306" y="359"/>
                  </a:lnTo>
                  <a:lnTo>
                    <a:pt x="312" y="371"/>
                  </a:lnTo>
                  <a:lnTo>
                    <a:pt x="320" y="383"/>
                  </a:lnTo>
                  <a:lnTo>
                    <a:pt x="328" y="393"/>
                  </a:lnTo>
                  <a:lnTo>
                    <a:pt x="338" y="401"/>
                  </a:lnTo>
                  <a:lnTo>
                    <a:pt x="348" y="405"/>
                  </a:lnTo>
                  <a:lnTo>
                    <a:pt x="358" y="407"/>
                  </a:lnTo>
                  <a:lnTo>
                    <a:pt x="358" y="407"/>
                  </a:lnTo>
                  <a:lnTo>
                    <a:pt x="360" y="407"/>
                  </a:lnTo>
                  <a:lnTo>
                    <a:pt x="360" y="407"/>
                  </a:lnTo>
                  <a:lnTo>
                    <a:pt x="370" y="433"/>
                  </a:lnTo>
                  <a:lnTo>
                    <a:pt x="382" y="459"/>
                  </a:lnTo>
                  <a:lnTo>
                    <a:pt x="394" y="483"/>
                  </a:lnTo>
                  <a:lnTo>
                    <a:pt x="406" y="507"/>
                  </a:lnTo>
                  <a:lnTo>
                    <a:pt x="406" y="507"/>
                  </a:lnTo>
                  <a:lnTo>
                    <a:pt x="410" y="523"/>
                  </a:lnTo>
                  <a:lnTo>
                    <a:pt x="414" y="561"/>
                  </a:lnTo>
                  <a:lnTo>
                    <a:pt x="414" y="561"/>
                  </a:lnTo>
                  <a:lnTo>
                    <a:pt x="378" y="565"/>
                  </a:lnTo>
                  <a:lnTo>
                    <a:pt x="344" y="571"/>
                  </a:lnTo>
                  <a:lnTo>
                    <a:pt x="308" y="579"/>
                  </a:lnTo>
                  <a:lnTo>
                    <a:pt x="274" y="587"/>
                  </a:lnTo>
                  <a:lnTo>
                    <a:pt x="204" y="607"/>
                  </a:lnTo>
                  <a:lnTo>
                    <a:pt x="134" y="629"/>
                  </a:lnTo>
                  <a:lnTo>
                    <a:pt x="134" y="629"/>
                  </a:lnTo>
                  <a:lnTo>
                    <a:pt x="122" y="633"/>
                  </a:lnTo>
                  <a:lnTo>
                    <a:pt x="112" y="641"/>
                  </a:lnTo>
                  <a:lnTo>
                    <a:pt x="104" y="649"/>
                  </a:lnTo>
                  <a:lnTo>
                    <a:pt x="96" y="659"/>
                  </a:lnTo>
                  <a:lnTo>
                    <a:pt x="88" y="671"/>
                  </a:lnTo>
                  <a:lnTo>
                    <a:pt x="82" y="683"/>
                  </a:lnTo>
                  <a:lnTo>
                    <a:pt x="76" y="707"/>
                  </a:lnTo>
                  <a:lnTo>
                    <a:pt x="76" y="707"/>
                  </a:lnTo>
                  <a:lnTo>
                    <a:pt x="48" y="834"/>
                  </a:lnTo>
                  <a:lnTo>
                    <a:pt x="22" y="958"/>
                  </a:lnTo>
                  <a:lnTo>
                    <a:pt x="12" y="1016"/>
                  </a:lnTo>
                  <a:lnTo>
                    <a:pt x="6" y="1068"/>
                  </a:lnTo>
                  <a:lnTo>
                    <a:pt x="0" y="1114"/>
                  </a:lnTo>
                  <a:lnTo>
                    <a:pt x="0" y="1148"/>
                  </a:lnTo>
                  <a:lnTo>
                    <a:pt x="664" y="114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a:solidFill>
                  <a:srgbClr val="505050"/>
                </a:solidFill>
                <a:latin typeface="Montserrat" pitchFamily="2" charset="77"/>
              </a:endParaRPr>
            </a:p>
          </p:txBody>
        </p:sp>
      </p:grpSp>
      <p:sp>
        <p:nvSpPr>
          <p:cNvPr id="44" name="TextBox 43">
            <a:extLst>
              <a:ext uri="{FF2B5EF4-FFF2-40B4-BE49-F238E27FC236}">
                <a16:creationId xmlns:a16="http://schemas.microsoft.com/office/drawing/2014/main" id="{480194D8-7C36-5040-BE4B-2B6519602058}"/>
              </a:ext>
            </a:extLst>
          </p:cNvPr>
          <p:cNvSpPr txBox="1"/>
          <p:nvPr/>
        </p:nvSpPr>
        <p:spPr>
          <a:xfrm>
            <a:off x="7334486" y="2674825"/>
            <a:ext cx="2286220" cy="876726"/>
          </a:xfrm>
          <a:prstGeom prst="rect">
            <a:avLst/>
          </a:prstGeom>
          <a:noFill/>
        </p:spPr>
        <p:txBody>
          <a:bodyPr wrap="square" lIns="0" tIns="0" rIns="0" bIns="0" rtlCol="0" anchor="ctr">
            <a:noAutofit/>
          </a:bodyPr>
          <a:lstStyle/>
          <a:p>
            <a:pPr marL="0" lvl="5" defTabSz="914400"/>
            <a:r>
              <a:rPr lang="en-US" sz="2600" b="1" cap="all" spc="60" dirty="0">
                <a:solidFill>
                  <a:schemeClr val="accent1"/>
                </a:solidFill>
              </a:rPr>
              <a:t>CODER (BUSINESS TESTER)</a:t>
            </a:r>
          </a:p>
        </p:txBody>
      </p:sp>
    </p:spTree>
    <p:extLst>
      <p:ext uri="{BB962C8B-B14F-4D97-AF65-F5344CB8AC3E}">
        <p14:creationId xmlns:p14="http://schemas.microsoft.com/office/powerpoint/2010/main" val="4245217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341369-CDD0-45B0-A9BF-581B561E4EEF}"/>
              </a:ext>
            </a:extLst>
          </p:cNvPr>
          <p:cNvSpPr>
            <a:spLocks noGrp="1"/>
          </p:cNvSpPr>
          <p:nvPr>
            <p:ph sz="quarter" idx="14"/>
          </p:nvPr>
        </p:nvSpPr>
        <p:spPr>
          <a:xfrm>
            <a:off x="449579" y="1494987"/>
            <a:ext cx="5532120" cy="4717247"/>
          </a:xfrm>
        </p:spPr>
        <p:txBody>
          <a:bodyPr/>
          <a:lstStyle/>
          <a:p>
            <a:pPr marL="0" indent="0" algn="just">
              <a:buNone/>
            </a:pPr>
            <a:r>
              <a:rPr lang="en-US" dirty="0"/>
              <a:t>Model and automate complex interconnected systems to support the warfighter.​</a:t>
            </a:r>
          </a:p>
          <a:p>
            <a:pPr marL="0" indent="0" algn="just">
              <a:buNone/>
            </a:pPr>
            <a:endParaRPr lang="en-US" sz="100" dirty="0"/>
          </a:p>
          <a:p>
            <a:pPr marL="0" indent="0" algn="just">
              <a:buNone/>
            </a:pPr>
            <a:r>
              <a:rPr lang="en-US" b="1" dirty="0">
                <a:solidFill>
                  <a:srgbClr val="C00000"/>
                </a:solidFill>
              </a:rPr>
              <a:t>CHALLENGES</a:t>
            </a:r>
          </a:p>
          <a:p>
            <a:pPr marL="0" indent="0" algn="just">
              <a:buNone/>
            </a:pPr>
            <a:endParaRPr lang="en-US" sz="100" b="1" dirty="0"/>
          </a:p>
          <a:p>
            <a:pPr algn="just" fontAlgn="base">
              <a:spcBef>
                <a:spcPts val="400"/>
              </a:spcBef>
            </a:pPr>
            <a:r>
              <a:rPr lang="en-US" sz="1900" dirty="0"/>
              <a:t>Using traditional automation tools impossible as teams are unable to access code​</a:t>
            </a:r>
          </a:p>
          <a:p>
            <a:pPr algn="just" fontAlgn="base">
              <a:spcBef>
                <a:spcPts val="400"/>
              </a:spcBef>
            </a:pPr>
            <a:r>
              <a:rPr lang="en-US" sz="1900" dirty="0"/>
              <a:t>Rich, graphical UIs make automation a challenge​</a:t>
            </a:r>
          </a:p>
          <a:p>
            <a:pPr algn="just" fontAlgn="base">
              <a:spcBef>
                <a:spcPts val="400"/>
              </a:spcBef>
            </a:pPr>
            <a:r>
              <a:rPr lang="en-US" sz="1900" dirty="0"/>
              <a:t>Automation tools not compatible with custom operating systems (Dell 5501, GTAC, PACSTAR etc.)​</a:t>
            </a:r>
          </a:p>
          <a:p>
            <a:pPr algn="just" fontAlgn="base">
              <a:spcBef>
                <a:spcPts val="400"/>
              </a:spcBef>
            </a:pPr>
            <a:r>
              <a:rPr lang="en-US" sz="1900" dirty="0"/>
              <a:t>Citrix environments and Virtual networks provide additional test complexity​</a:t>
            </a:r>
          </a:p>
          <a:p>
            <a:pPr algn="just" fontAlgn="base">
              <a:spcBef>
                <a:spcPts val="400"/>
              </a:spcBef>
            </a:pPr>
            <a:r>
              <a:rPr lang="en-US" sz="1900" dirty="0"/>
              <a:t>Large-scale software implementations mean significant test maintenance effort and few releases per year​</a:t>
            </a:r>
            <a:endParaRPr lang="en-US" b="1" dirty="0"/>
          </a:p>
        </p:txBody>
      </p:sp>
      <p:sp>
        <p:nvSpPr>
          <p:cNvPr id="25" name="Text Placeholder 24">
            <a:extLst>
              <a:ext uri="{FF2B5EF4-FFF2-40B4-BE49-F238E27FC236}">
                <a16:creationId xmlns:a16="http://schemas.microsoft.com/office/drawing/2014/main" id="{329B938C-4377-4039-8C25-95BE23DCBEBB}"/>
              </a:ext>
            </a:extLst>
          </p:cNvPr>
          <p:cNvSpPr>
            <a:spLocks noGrp="1"/>
          </p:cNvSpPr>
          <p:nvPr>
            <p:ph type="body" sz="quarter" idx="13"/>
          </p:nvPr>
        </p:nvSpPr>
        <p:spPr/>
        <p:txBody>
          <a:bodyPr/>
          <a:lstStyle/>
          <a:p>
            <a:r>
              <a:rPr lang="en-US" dirty="0"/>
              <a:t>Challenges &amp; solution capabilities</a:t>
            </a:r>
          </a:p>
        </p:txBody>
      </p:sp>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6245920" y="2370445"/>
            <a:ext cx="5532120" cy="3638250"/>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just">
              <a:buFont typeface="Arial" panose="020B0604020202020204" pitchFamily="34" charset="0"/>
              <a:buNone/>
            </a:pPr>
            <a:endParaRPr lang="en-US" sz="100" dirty="0"/>
          </a:p>
          <a:p>
            <a:pPr marL="0" indent="0" algn="just">
              <a:spcBef>
                <a:spcPts val="0"/>
              </a:spcBef>
              <a:spcAft>
                <a:spcPts val="600"/>
              </a:spcAft>
              <a:buFont typeface="Arial" panose="020B0604020202020204" pitchFamily="34" charset="0"/>
              <a:buNone/>
            </a:pPr>
            <a:r>
              <a:rPr lang="en-US" b="1" dirty="0">
                <a:solidFill>
                  <a:srgbClr val="C00000"/>
                </a:solidFill>
              </a:rPr>
              <a:t>SOLUTION CAPABILITIES</a:t>
            </a:r>
          </a:p>
          <a:p>
            <a:pPr marL="0" indent="0" algn="just">
              <a:spcBef>
                <a:spcPts val="0"/>
              </a:spcBef>
              <a:spcAft>
                <a:spcPts val="600"/>
              </a:spcAft>
              <a:buFont typeface="Arial" panose="020B0604020202020204" pitchFamily="34" charset="0"/>
              <a:buNone/>
            </a:pPr>
            <a:endParaRPr lang="en-US" sz="100" b="1" dirty="0"/>
          </a:p>
          <a:p>
            <a:pPr algn="just" fontAlgn="base">
              <a:spcBef>
                <a:spcPts val="0"/>
              </a:spcBef>
              <a:spcAft>
                <a:spcPts val="600"/>
              </a:spcAft>
            </a:pPr>
            <a:r>
              <a:rPr lang="en-US" sz="1900" dirty="0">
                <a:solidFill>
                  <a:srgbClr val="C00000"/>
                </a:solidFill>
              </a:rPr>
              <a:t>DevOps at Scale</a:t>
            </a:r>
            <a:r>
              <a:rPr lang="en-US" sz="1900" dirty="0"/>
              <a:t>: </a:t>
            </a:r>
            <a:r>
              <a:rPr lang="en-GB" sz="1900" dirty="0"/>
              <a:t>Modernizing your digital offering with a strategy in which development and test automation engineers collaborate with the operations team to ensure software delivers on their ultimate goal.</a:t>
            </a:r>
            <a:r>
              <a:rPr lang="en-US" sz="1900" dirty="0"/>
              <a:t>​</a:t>
            </a:r>
          </a:p>
          <a:p>
            <a:pPr algn="just" fontAlgn="base"/>
            <a:r>
              <a:rPr lang="en-GB" sz="1900" dirty="0">
                <a:solidFill>
                  <a:srgbClr val="C00000"/>
                </a:solidFill>
              </a:rPr>
              <a:t>Automate Anything</a:t>
            </a:r>
            <a:r>
              <a:rPr lang="en-GB" sz="1900" dirty="0"/>
              <a:t>: Eggplant platform can test any technology on any device, operating system or browser. Automating processes across applications and platforms, from Mobile to Mainframe, from Citrix to Cloud.</a:t>
            </a:r>
            <a:endParaRPr lang="en-US" sz="1900" dirty="0"/>
          </a:p>
        </p:txBody>
      </p:sp>
    </p:spTree>
    <p:extLst>
      <p:ext uri="{BB962C8B-B14F-4D97-AF65-F5344CB8AC3E}">
        <p14:creationId xmlns:p14="http://schemas.microsoft.com/office/powerpoint/2010/main" val="3552152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341369-CDD0-45B0-A9BF-581B561E4EEF}"/>
              </a:ext>
            </a:extLst>
          </p:cNvPr>
          <p:cNvSpPr>
            <a:spLocks noGrp="1"/>
          </p:cNvSpPr>
          <p:nvPr>
            <p:ph sz="quarter" idx="14"/>
          </p:nvPr>
        </p:nvSpPr>
        <p:spPr>
          <a:xfrm>
            <a:off x="449579" y="1509275"/>
            <a:ext cx="5532120" cy="4717247"/>
          </a:xfrm>
        </p:spPr>
        <p:txBody>
          <a:bodyPr/>
          <a:lstStyle/>
          <a:p>
            <a:pPr marL="0" indent="0" algn="just">
              <a:buNone/>
            </a:pPr>
            <a:r>
              <a:rPr lang="en-US" b="1" dirty="0">
                <a:solidFill>
                  <a:srgbClr val="C00000"/>
                </a:solidFill>
              </a:rPr>
              <a:t>CUSTOMER BENEFITS</a:t>
            </a:r>
          </a:p>
          <a:p>
            <a:pPr marL="0" indent="0" algn="just">
              <a:buNone/>
            </a:pPr>
            <a:endParaRPr lang="en-US" sz="100" b="1" dirty="0"/>
          </a:p>
          <a:p>
            <a:pPr marL="174828" indent="-174828" algn="just" defTabSz="932418">
              <a:spcBef>
                <a:spcPts val="306"/>
              </a:spcBef>
              <a:defRPr/>
            </a:pPr>
            <a:r>
              <a:rPr lang="en-US" dirty="0">
                <a:solidFill>
                  <a:srgbClr val="C00000"/>
                </a:solidFill>
              </a:rPr>
              <a:t>Non-invasive automation </a:t>
            </a:r>
            <a:r>
              <a:rPr lang="en-US" dirty="0"/>
              <a:t>Automate mission critical systems without needing to interact with the underlying code</a:t>
            </a:r>
          </a:p>
          <a:p>
            <a:pPr marL="174828" indent="-174828" algn="just" defTabSz="932418">
              <a:spcBef>
                <a:spcPts val="306"/>
              </a:spcBef>
              <a:defRPr/>
            </a:pPr>
            <a:r>
              <a:rPr lang="en-US" dirty="0">
                <a:solidFill>
                  <a:srgbClr val="C00000"/>
                </a:solidFill>
              </a:rPr>
              <a:t>Military-approved technology </a:t>
            </a:r>
            <a:r>
              <a:rPr lang="en-US" dirty="0"/>
              <a:t>Recommended by the US Defense Science Board​</a:t>
            </a:r>
          </a:p>
          <a:p>
            <a:pPr marL="174828" indent="-174828" algn="just" defTabSz="932418">
              <a:spcBef>
                <a:spcPts val="306"/>
              </a:spcBef>
              <a:defRPr/>
            </a:pPr>
            <a:r>
              <a:rPr lang="en-US" dirty="0">
                <a:solidFill>
                  <a:srgbClr val="C00000"/>
                </a:solidFill>
              </a:rPr>
              <a:t>The automation standard </a:t>
            </a:r>
            <a:r>
              <a:rPr lang="en-US" dirty="0"/>
              <a:t>Used by the DoD, US Army, Navy, Raytheon Technologies, BAE, Lockheed Martin​</a:t>
            </a:r>
          </a:p>
          <a:p>
            <a:pPr marL="174828" indent="-174828" algn="just" defTabSz="932418">
              <a:spcBef>
                <a:spcPts val="306"/>
              </a:spcBef>
              <a:defRPr/>
            </a:pPr>
            <a:r>
              <a:rPr lang="en-US" dirty="0">
                <a:solidFill>
                  <a:srgbClr val="C00000"/>
                </a:solidFill>
              </a:rPr>
              <a:t>Automate any application </a:t>
            </a:r>
            <a:r>
              <a:rPr lang="en-US" dirty="0"/>
              <a:t>Automate rich graphical UIs and custom operating systems​</a:t>
            </a:r>
            <a:endParaRPr lang="en-US" sz="1900" dirty="0"/>
          </a:p>
        </p:txBody>
      </p:sp>
      <p:sp>
        <p:nvSpPr>
          <p:cNvPr id="25" name="Text Placeholder 24">
            <a:extLst>
              <a:ext uri="{FF2B5EF4-FFF2-40B4-BE49-F238E27FC236}">
                <a16:creationId xmlns:a16="http://schemas.microsoft.com/office/drawing/2014/main" id="{329B938C-4377-4039-8C25-95BE23DCBEBB}"/>
              </a:ext>
            </a:extLst>
          </p:cNvPr>
          <p:cNvSpPr>
            <a:spLocks noGrp="1"/>
          </p:cNvSpPr>
          <p:nvPr>
            <p:ph type="body" sz="quarter" idx="13"/>
          </p:nvPr>
        </p:nvSpPr>
        <p:spPr/>
        <p:txBody>
          <a:bodyPr/>
          <a:lstStyle/>
          <a:p>
            <a:r>
              <a:rPr lang="en-US" dirty="0"/>
              <a:t>CUSTOMER BENEFITS &amp; WHY KEYSIGHT</a:t>
            </a:r>
          </a:p>
        </p:txBody>
      </p:sp>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6210302" y="1374229"/>
            <a:ext cx="553212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lgn="just">
              <a:buFont typeface="Arial" panose="020B0604020202020204" pitchFamily="34" charset="0"/>
              <a:buNone/>
            </a:pPr>
            <a:endParaRPr lang="en-US" sz="100" dirty="0"/>
          </a:p>
          <a:p>
            <a:pPr marL="0" indent="0" algn="just">
              <a:buFont typeface="Arial" panose="020B0604020202020204" pitchFamily="34" charset="0"/>
              <a:buNone/>
            </a:pPr>
            <a:r>
              <a:rPr lang="en-US" b="1" dirty="0">
                <a:solidFill>
                  <a:srgbClr val="C00000"/>
                </a:solidFill>
              </a:rPr>
              <a:t>WHY KEYSIGHT</a:t>
            </a:r>
          </a:p>
          <a:p>
            <a:pPr marL="0" indent="0" algn="just">
              <a:buFont typeface="Arial" panose="020B0604020202020204" pitchFamily="34" charset="0"/>
              <a:buNone/>
            </a:pPr>
            <a:endParaRPr lang="en-US" sz="100" b="1" dirty="0"/>
          </a:p>
          <a:p>
            <a:pPr marL="174828" indent="-174828" algn="just" defTabSz="932418" fontAlgn="base">
              <a:spcBef>
                <a:spcPts val="306"/>
              </a:spcBef>
              <a:defRPr/>
            </a:pPr>
            <a:r>
              <a:rPr lang="en-CA" sz="1900" dirty="0"/>
              <a:t>One platform to fulfill both Testing and Robotic Process Automation requirements​</a:t>
            </a:r>
          </a:p>
          <a:p>
            <a:pPr marL="174828" indent="-174828" algn="just" defTabSz="932418" fontAlgn="base">
              <a:spcBef>
                <a:spcPts val="306"/>
              </a:spcBef>
              <a:defRPr/>
            </a:pPr>
            <a:r>
              <a:rPr lang="en-CA" sz="1900" dirty="0"/>
              <a:t>Recognized leaders in Test Automation by both Gartner and Forrester​</a:t>
            </a:r>
          </a:p>
          <a:p>
            <a:pPr marL="174828" indent="-174828" algn="just" defTabSz="932418" fontAlgn="base">
              <a:spcBef>
                <a:spcPts val="306"/>
              </a:spcBef>
              <a:defRPr/>
            </a:pPr>
            <a:r>
              <a:rPr lang="en-CA" dirty="0"/>
              <a:t>Proven across the defense industry​</a:t>
            </a:r>
            <a:r>
              <a:rPr lang="en-CA" sz="1900" dirty="0"/>
              <a:t>Realize business value faster and improve ROI​</a:t>
            </a:r>
          </a:p>
          <a:p>
            <a:pPr marL="174828" indent="-174828" algn="just" defTabSz="932418" fontAlgn="base">
              <a:spcBef>
                <a:spcPts val="306"/>
              </a:spcBef>
              <a:defRPr/>
            </a:pPr>
            <a:r>
              <a:rPr lang="en-US" dirty="0"/>
              <a:t>Realize business value faster and improve ROI</a:t>
            </a:r>
          </a:p>
          <a:p>
            <a:pPr marL="174828" indent="-174828" algn="just" defTabSz="932418" fontAlgn="base">
              <a:spcBef>
                <a:spcPts val="306"/>
              </a:spcBef>
              <a:defRPr/>
            </a:pPr>
            <a:r>
              <a:rPr lang="en-US" dirty="0"/>
              <a:t>Customer Success to simplify and smooth implementation​​</a:t>
            </a:r>
            <a:endParaRPr lang="en-CA" sz="1800" dirty="0">
              <a:solidFill>
                <a:srgbClr val="000000"/>
              </a:solidFill>
              <a:latin typeface="Montserrat" pitchFamily="2" charset="77"/>
            </a:endParaRPr>
          </a:p>
        </p:txBody>
      </p:sp>
    </p:spTree>
    <p:extLst>
      <p:ext uri="{BB962C8B-B14F-4D97-AF65-F5344CB8AC3E}">
        <p14:creationId xmlns:p14="http://schemas.microsoft.com/office/powerpoint/2010/main" val="777672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50341369-CDD0-45B0-A9BF-581B561E4EEF}"/>
              </a:ext>
            </a:extLst>
          </p:cNvPr>
          <p:cNvSpPr>
            <a:spLocks noGrp="1"/>
          </p:cNvSpPr>
          <p:nvPr>
            <p:ph sz="quarter" idx="14"/>
          </p:nvPr>
        </p:nvSpPr>
        <p:spPr>
          <a:xfrm>
            <a:off x="449579" y="1623578"/>
            <a:ext cx="5532120" cy="4717247"/>
          </a:xfrm>
        </p:spPr>
        <p:txBody>
          <a:bodyPr/>
          <a:lstStyle/>
          <a:p>
            <a:pPr marL="0" indent="0">
              <a:buNone/>
            </a:pPr>
            <a:r>
              <a:rPr lang="en-US" sz="1900" b="1" dirty="0">
                <a:solidFill>
                  <a:srgbClr val="C00000"/>
                </a:solidFill>
              </a:rPr>
              <a:t>EGGPLANT DIGITAL AUTOMATION INTELLIGENCE</a:t>
            </a:r>
          </a:p>
          <a:p>
            <a:pPr marL="0" indent="0" algn="just">
              <a:buNone/>
            </a:pPr>
            <a:r>
              <a:rPr lang="en-GB" sz="1700" dirty="0"/>
              <a:t>Test smarter with AI-powered automation that views technology from the users’ perspective, improving how you test, develop and deliver in the digital age. </a:t>
            </a:r>
            <a:r>
              <a:rPr lang="en-US" sz="1700" dirty="0"/>
              <a:t>Easily test any system </a:t>
            </a:r>
            <a:r>
              <a:rPr lang="en-GB" sz="1700" dirty="0"/>
              <a:t>secured by Two-Factor (2FA) and Multi-Factor Authentication (MFA) techniques</a:t>
            </a:r>
            <a:r>
              <a:rPr lang="en-US" sz="1700" dirty="0"/>
              <a:t>. </a:t>
            </a:r>
            <a:r>
              <a:rPr lang="en-US" sz="1700" dirty="0">
                <a:hlinkClick r:id="rId3">
                  <a:extLst>
                    <a:ext uri="{A12FA001-AC4F-418D-AE19-62706E023703}">
                      <ahyp:hlinkClr xmlns:ahyp="http://schemas.microsoft.com/office/drawing/2018/hyperlinkcolor" val="tx"/>
                    </a:ext>
                  </a:extLst>
                </a:hlinkClick>
              </a:rPr>
              <a:t>Learn more</a:t>
            </a:r>
            <a:r>
              <a:rPr lang="en-US" sz="1700" dirty="0"/>
              <a:t>.</a:t>
            </a:r>
          </a:p>
          <a:p>
            <a:pPr marL="0" indent="0" algn="just">
              <a:buNone/>
            </a:pPr>
            <a:endParaRPr lang="en-US" sz="750" dirty="0"/>
          </a:p>
          <a:p>
            <a:pPr marL="0" indent="0" algn="just">
              <a:buNone/>
            </a:pPr>
            <a:endParaRPr lang="en-GB" sz="750" b="1" dirty="0">
              <a:solidFill>
                <a:srgbClr val="C00000"/>
              </a:solidFill>
            </a:endParaRPr>
          </a:p>
          <a:p>
            <a:pPr marL="0" indent="0" algn="just">
              <a:buNone/>
            </a:pPr>
            <a:r>
              <a:rPr lang="en-GB" sz="1900" b="1" dirty="0">
                <a:solidFill>
                  <a:srgbClr val="C00000"/>
                </a:solidFill>
              </a:rPr>
              <a:t>EGGPLANT MONITORING INSIGHTS</a:t>
            </a:r>
          </a:p>
          <a:p>
            <a:pPr marL="0" indent="0" algn="just">
              <a:buNone/>
            </a:pPr>
            <a:r>
              <a:rPr lang="en-GB" sz="1700" dirty="0"/>
              <a:t>A reliable, non-invasive synthetic monitoring solution that can assist you with customized views on the performance of your technology so you can address any issues before they snowball. It’s a uniquely stable platform and double testing methodology delivering timely, accurate alerting, without wasting time on false positives. </a:t>
            </a:r>
            <a:r>
              <a:rPr lang="en-GB" sz="1700" dirty="0">
                <a:hlinkClick r:id="rId4">
                  <a:extLst>
                    <a:ext uri="{A12FA001-AC4F-418D-AE19-62706E023703}">
                      <ahyp:hlinkClr xmlns:ahyp="http://schemas.microsoft.com/office/drawing/2018/hyperlinkcolor" val="tx"/>
                    </a:ext>
                  </a:extLst>
                </a:hlinkClick>
              </a:rPr>
              <a:t>Learn more</a:t>
            </a:r>
            <a:r>
              <a:rPr lang="en-GB" sz="1700" dirty="0"/>
              <a:t>.</a:t>
            </a:r>
            <a:endParaRPr lang="en-US" sz="1700" b="1" dirty="0"/>
          </a:p>
        </p:txBody>
      </p:sp>
      <p:sp>
        <p:nvSpPr>
          <p:cNvPr id="25" name="Text Placeholder 24">
            <a:extLst>
              <a:ext uri="{FF2B5EF4-FFF2-40B4-BE49-F238E27FC236}">
                <a16:creationId xmlns:a16="http://schemas.microsoft.com/office/drawing/2014/main" id="{329B938C-4377-4039-8C25-95BE23DCBEBB}"/>
              </a:ext>
            </a:extLst>
          </p:cNvPr>
          <p:cNvSpPr>
            <a:spLocks noGrp="1"/>
          </p:cNvSpPr>
          <p:nvPr>
            <p:ph type="body" sz="quarter" idx="13"/>
          </p:nvPr>
        </p:nvSpPr>
        <p:spPr/>
        <p:txBody>
          <a:bodyPr/>
          <a:lstStyle/>
          <a:p>
            <a:r>
              <a:rPr lang="en-US" dirty="0"/>
              <a:t>KEYSIGHT SOFTWARE TEST PRODUCTS</a:t>
            </a:r>
          </a:p>
        </p:txBody>
      </p:sp>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Elevator pitch</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6210303" y="1623577"/>
            <a:ext cx="553212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marL="0" indent="0">
              <a:buFont typeface="Arial" panose="020B0604020202020204" pitchFamily="34" charset="0"/>
              <a:buNone/>
            </a:pPr>
            <a:r>
              <a:rPr lang="en-US" sz="1900" b="1" dirty="0">
                <a:solidFill>
                  <a:srgbClr val="C00000"/>
                </a:solidFill>
              </a:rPr>
              <a:t>EGGPLANT PERFORMANCE AND LOAD TESTING</a:t>
            </a:r>
          </a:p>
          <a:p>
            <a:pPr marL="0" indent="0" algn="just">
              <a:buFont typeface="Arial" panose="020B0604020202020204" pitchFamily="34" charset="0"/>
              <a:buNone/>
            </a:pPr>
            <a:r>
              <a:rPr lang="en-GB" sz="1700" dirty="0"/>
              <a:t>True, user-centric performance testing that’s simple to use. Its unique ability to simulate virtual users at both the application UI and the network protocol levels makes it the only solution that gives you a true understanding of the UX impact at scale. Identify and resolve issues quickly, and future-proof your technology. </a:t>
            </a:r>
            <a:r>
              <a:rPr lang="en-GB" sz="1700" dirty="0">
                <a:hlinkClick r:id="rId5">
                  <a:extLst>
                    <a:ext uri="{A12FA001-AC4F-418D-AE19-62706E023703}">
                      <ahyp:hlinkClr xmlns:ahyp="http://schemas.microsoft.com/office/drawing/2018/hyperlinkcolor" val="tx"/>
                    </a:ext>
                  </a:extLst>
                </a:hlinkClick>
              </a:rPr>
              <a:t>Learn more</a:t>
            </a:r>
            <a:r>
              <a:rPr lang="en-GB" sz="1700" dirty="0"/>
              <a:t>.</a:t>
            </a:r>
          </a:p>
          <a:p>
            <a:pPr marL="174828" indent="-174828" algn="just" defTabSz="932418" fontAlgn="base">
              <a:spcBef>
                <a:spcPts val="306"/>
              </a:spcBef>
              <a:defRPr/>
            </a:pPr>
            <a:endParaRPr lang="en-GB" sz="1900" dirty="0"/>
          </a:p>
          <a:p>
            <a:pPr marL="0" indent="0" algn="just" defTabSz="932418" fontAlgn="base">
              <a:spcBef>
                <a:spcPts val="306"/>
              </a:spcBef>
              <a:buNone/>
              <a:defRPr/>
            </a:pPr>
            <a:r>
              <a:rPr lang="en-GB" sz="1900" b="1" dirty="0">
                <a:solidFill>
                  <a:srgbClr val="C00000"/>
                </a:solidFill>
              </a:rPr>
              <a:t>EGGPLANT ROBOTIC PROCESS AUTOMATION</a:t>
            </a:r>
          </a:p>
          <a:p>
            <a:pPr marL="0" indent="0" algn="just" defTabSz="932418" fontAlgn="base">
              <a:spcBef>
                <a:spcPts val="306"/>
              </a:spcBef>
              <a:buNone/>
              <a:defRPr/>
            </a:pPr>
            <a:endParaRPr lang="en-US" sz="400" dirty="0"/>
          </a:p>
          <a:p>
            <a:pPr marL="0" indent="0" algn="just" defTabSz="932418" fontAlgn="base">
              <a:spcBef>
                <a:spcPts val="306"/>
              </a:spcBef>
              <a:buNone/>
              <a:defRPr/>
            </a:pPr>
            <a:r>
              <a:rPr lang="en-US" sz="1700" dirty="0"/>
              <a:t>RPA increases productivity and reduces errors by automating the execution of repetitive process tasks, reducing the administrative burden on employees. Eggplant RPA offers a modelling interface to lay out an automation model in a code-free way, enabling non-technical users, to drive the solution. </a:t>
            </a:r>
            <a:r>
              <a:rPr lang="en-US" sz="1700" dirty="0">
                <a:hlinkClick r:id="rId6">
                  <a:extLst>
                    <a:ext uri="{A12FA001-AC4F-418D-AE19-62706E023703}">
                      <ahyp:hlinkClr xmlns:ahyp="http://schemas.microsoft.com/office/drawing/2018/hyperlinkcolor" val="tx"/>
                    </a:ext>
                  </a:extLst>
                </a:hlinkClick>
              </a:rPr>
              <a:t>Learn more</a:t>
            </a:r>
            <a:r>
              <a:rPr lang="en-US" sz="1700" dirty="0"/>
              <a:t>.</a:t>
            </a:r>
          </a:p>
        </p:txBody>
      </p:sp>
    </p:spTree>
    <p:extLst>
      <p:ext uri="{BB962C8B-B14F-4D97-AF65-F5344CB8AC3E}">
        <p14:creationId xmlns:p14="http://schemas.microsoft.com/office/powerpoint/2010/main" val="2961830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8CEE028-63CE-4081-8920-54EF4207CA14}"/>
              </a:ext>
            </a:extLst>
          </p:cNvPr>
          <p:cNvSpPr>
            <a:spLocks noGrp="1"/>
          </p:cNvSpPr>
          <p:nvPr>
            <p:ph type="title"/>
          </p:nvPr>
        </p:nvSpPr>
        <p:spPr/>
        <p:txBody>
          <a:bodyPr/>
          <a:lstStyle/>
          <a:p>
            <a:r>
              <a:rPr lang="en-US" dirty="0"/>
              <a:t>Assets</a:t>
            </a:r>
          </a:p>
        </p:txBody>
      </p:sp>
      <p:sp>
        <p:nvSpPr>
          <p:cNvPr id="14" name="Content Placeholder 6">
            <a:extLst>
              <a:ext uri="{FF2B5EF4-FFF2-40B4-BE49-F238E27FC236}">
                <a16:creationId xmlns:a16="http://schemas.microsoft.com/office/drawing/2014/main" id="{C1BB286C-1864-204C-8B0F-12EE36985F2C}"/>
              </a:ext>
            </a:extLst>
          </p:cNvPr>
          <p:cNvSpPr txBox="1">
            <a:spLocks/>
          </p:cNvSpPr>
          <p:nvPr/>
        </p:nvSpPr>
        <p:spPr>
          <a:xfrm>
            <a:off x="3495678" y="278811"/>
            <a:ext cx="8062910" cy="4717247"/>
          </a:xfrm>
          <a:prstGeom prst="rect">
            <a:avLst/>
          </a:prstGeom>
        </p:spPr>
        <p:txBody>
          <a:bodyPr vert="horz" lIns="0" tIns="0" rIns="0" bIns="0" rtlCol="0">
            <a:noAutofit/>
          </a:bodyPr>
          <a:lstStyle>
            <a:lvl1pPr marL="182880" indent="-182880" algn="l" defTabSz="914400" rtl="0" eaLnBrk="1" latinLnBrk="0" hangingPunct="1">
              <a:lnSpc>
                <a:spcPct val="100000"/>
              </a:lnSpc>
              <a:spcBef>
                <a:spcPts val="1000"/>
              </a:spcBef>
              <a:buClr>
                <a:schemeClr val="accent1"/>
              </a:buClr>
              <a:buFont typeface="Arial" panose="020B0604020202020204" pitchFamily="34" charset="0"/>
              <a:buChar char="•"/>
              <a:defRPr sz="2000" kern="1200">
                <a:solidFill>
                  <a:schemeClr val="tx1">
                    <a:lumMod val="85000"/>
                    <a:lumOff val="15000"/>
                  </a:schemeClr>
                </a:solidFill>
                <a:latin typeface="+mn-lt"/>
                <a:ea typeface="+mn-ea"/>
                <a:cs typeface="+mn-cs"/>
              </a:defRPr>
            </a:lvl1pPr>
            <a:lvl2pPr marL="365760" indent="-182880" algn="l" defTabSz="914400" rtl="0" eaLnBrk="1" latinLnBrk="0" hangingPunct="1">
              <a:lnSpc>
                <a:spcPct val="100000"/>
              </a:lnSpc>
              <a:spcBef>
                <a:spcPts val="200"/>
              </a:spcBef>
              <a:spcAft>
                <a:spcPts val="400"/>
              </a:spcAft>
              <a:buClr>
                <a:schemeClr val="accent1"/>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30352" indent="-164592"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spc="0">
                <a:solidFill>
                  <a:schemeClr val="tx1">
                    <a:lumMod val="85000"/>
                    <a:lumOff val="15000"/>
                  </a:schemeClr>
                </a:solidFill>
                <a:latin typeface="+mn-lt"/>
                <a:ea typeface="+mn-ea"/>
                <a:cs typeface="+mn-cs"/>
              </a:defRPr>
            </a:lvl3pPr>
            <a:lvl4pPr marL="687388" indent="-17145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400" b="0" kern="1200" cap="none" spc="0" baseline="0">
                <a:solidFill>
                  <a:schemeClr val="tx1">
                    <a:lumMod val="85000"/>
                    <a:lumOff val="15000"/>
                  </a:schemeClr>
                </a:solidFill>
                <a:latin typeface="+mn-lt"/>
                <a:ea typeface="+mn-ea"/>
                <a:cs typeface="+mn-cs"/>
              </a:defRPr>
            </a:lvl4pPr>
            <a:lvl5pPr marL="858837" indent="-171450" algn="l" defTabSz="914400" rtl="0" eaLnBrk="1" latinLnBrk="0" hangingPunct="1">
              <a:lnSpc>
                <a:spcPct val="90000"/>
              </a:lnSpc>
              <a:spcBef>
                <a:spcPts val="200"/>
              </a:spcBef>
              <a:spcAft>
                <a:spcPts val="400"/>
              </a:spcAft>
              <a:buClr>
                <a:srgbClr val="FF0000"/>
              </a:buClr>
              <a:buFont typeface="Arial" panose="020B0604020202020204" pitchFamily="34" charset="0"/>
              <a:buChar char="•"/>
              <a:defRPr lang="en-US" sz="1200" b="0" kern="1200" cap="none" spc="0" baseline="0">
                <a:solidFill>
                  <a:schemeClr val="tx1">
                    <a:lumMod val="85000"/>
                    <a:lumOff val="15000"/>
                  </a:schemeClr>
                </a:solidFill>
                <a:latin typeface="+mn-lt"/>
                <a:ea typeface="+mn-ea"/>
                <a:cs typeface="+mn-cs"/>
              </a:defRPr>
            </a:lvl5pPr>
            <a:lvl6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spc="60" baseline="0" dirty="0" smtClean="0">
                <a:solidFill>
                  <a:schemeClr val="tx1">
                    <a:lumMod val="85000"/>
                    <a:lumOff val="15000"/>
                  </a:schemeClr>
                </a:solidFill>
                <a:latin typeface="+mn-lt"/>
                <a:ea typeface="+mn-ea"/>
                <a:cs typeface="+mn-cs"/>
              </a:defRPr>
            </a:lvl6pPr>
            <a:lvl7pPr marL="0" indent="0"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7pPr>
            <a:lvl8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8pPr>
            <a:lvl9pPr marL="1588" indent="-1588" algn="l" defTabSz="914400" rtl="0" eaLnBrk="1" latinLnBrk="0" hangingPunct="1">
              <a:lnSpc>
                <a:spcPct val="90000"/>
              </a:lnSpc>
              <a:spcBef>
                <a:spcPts val="600"/>
              </a:spcBef>
              <a:spcAft>
                <a:spcPts val="600"/>
              </a:spcAft>
              <a:buFont typeface="Arial" panose="020B0604020202020204" pitchFamily="34" charset="0"/>
              <a:buChar char="​"/>
              <a:defRPr lang="en-US" sz="2000" b="0" i="0" kern="1200" cap="none" baseline="0" dirty="0" smtClean="0">
                <a:solidFill>
                  <a:schemeClr val="tx1">
                    <a:lumMod val="85000"/>
                    <a:lumOff val="15000"/>
                  </a:schemeClr>
                </a:solidFill>
                <a:latin typeface="+mn-lt"/>
                <a:ea typeface="+mn-ea"/>
                <a:cs typeface="+mn-cs"/>
              </a:defRPr>
            </a:lvl9pPr>
          </a:lstStyle>
          <a:p>
            <a:pPr>
              <a:buClr>
                <a:srgbClr val="C00000"/>
              </a:buClr>
            </a:pPr>
            <a:r>
              <a:rPr lang="en-GB" sz="1700" b="1" dirty="0">
                <a:solidFill>
                  <a:srgbClr val="C00000"/>
                </a:solidFill>
              </a:rPr>
              <a:t>Landing Page</a:t>
            </a:r>
          </a:p>
          <a:p>
            <a:pPr lvl="1">
              <a:buClr>
                <a:srgbClr val="C00000"/>
              </a:buClr>
            </a:pPr>
            <a:r>
              <a:rPr lang="en-GB" sz="1700" dirty="0">
                <a:hlinkClick r:id="rId3">
                  <a:extLst>
                    <a:ext uri="{A12FA001-AC4F-418D-AE19-62706E023703}">
                      <ahyp:hlinkClr xmlns:ahyp="http://schemas.microsoft.com/office/drawing/2018/hyperlinkcolor" val="tx"/>
                    </a:ext>
                  </a:extLst>
                </a:hlinkClick>
              </a:rPr>
              <a:t>Test Automation Solutions for Defense and Aerospace</a:t>
            </a:r>
            <a:endParaRPr lang="en-GB" sz="1700" dirty="0"/>
          </a:p>
          <a:p>
            <a:pPr marL="457200" lvl="1" indent="0">
              <a:buClr>
                <a:srgbClr val="C00000"/>
              </a:buClr>
              <a:buNone/>
            </a:pPr>
            <a:r>
              <a:rPr lang="en-GB" sz="1700" i="1" dirty="0"/>
              <a:t>   Please feel free to replicate.</a:t>
            </a:r>
          </a:p>
          <a:p>
            <a:pPr>
              <a:buClr>
                <a:srgbClr val="C00000"/>
              </a:buClr>
            </a:pPr>
            <a:r>
              <a:rPr lang="en-GB" sz="1700" b="1" dirty="0">
                <a:solidFill>
                  <a:srgbClr val="C00000"/>
                </a:solidFill>
              </a:rPr>
              <a:t>eBooks</a:t>
            </a:r>
          </a:p>
          <a:p>
            <a:pPr lvl="1">
              <a:buClr>
                <a:srgbClr val="C00000"/>
              </a:buClr>
            </a:pPr>
            <a:r>
              <a:rPr lang="en-GB" sz="1700" dirty="0">
                <a:hlinkClick r:id="rId4">
                  <a:extLst>
                    <a:ext uri="{A12FA001-AC4F-418D-AE19-62706E023703}">
                      <ahyp:hlinkClr xmlns:ahyp="http://schemas.microsoft.com/office/drawing/2018/hyperlinkcolor" val="tx"/>
                    </a:ext>
                  </a:extLst>
                </a:hlinkClick>
              </a:rPr>
              <a:t>Testing in Regulated Environments</a:t>
            </a:r>
            <a:endParaRPr lang="en-GB" sz="1700" dirty="0"/>
          </a:p>
          <a:p>
            <a:pPr lvl="1">
              <a:buClr>
                <a:srgbClr val="C00000"/>
              </a:buClr>
            </a:pPr>
            <a:r>
              <a:rPr lang="en-GB" sz="1700" dirty="0">
                <a:hlinkClick r:id="rId5">
                  <a:extLst>
                    <a:ext uri="{A12FA001-AC4F-418D-AE19-62706E023703}">
                      <ahyp:hlinkClr xmlns:ahyp="http://schemas.microsoft.com/office/drawing/2018/hyperlinkcolor" val="tx"/>
                    </a:ext>
                  </a:extLst>
                </a:hlinkClick>
              </a:rPr>
              <a:t>The Guide to Winning at Digital Transformation</a:t>
            </a:r>
            <a:endParaRPr lang="en-GB" sz="1700" dirty="0"/>
          </a:p>
          <a:p>
            <a:pPr lvl="1">
              <a:buClr>
                <a:srgbClr val="C00000"/>
              </a:buClr>
            </a:pPr>
            <a:r>
              <a:rPr lang="en-GB" sz="1700" dirty="0">
                <a:hlinkClick r:id="rId6">
                  <a:extLst>
                    <a:ext uri="{A12FA001-AC4F-418D-AE19-62706E023703}">
                      <ahyp:hlinkClr xmlns:ahyp="http://schemas.microsoft.com/office/drawing/2018/hyperlinkcolor" val="tx"/>
                    </a:ext>
                  </a:extLst>
                </a:hlinkClick>
              </a:rPr>
              <a:t>Want to be Digital First? You Need Hyperautomation</a:t>
            </a:r>
            <a:endParaRPr lang="en-GB" sz="1700" dirty="0"/>
          </a:p>
          <a:p>
            <a:pPr lvl="1">
              <a:buClr>
                <a:srgbClr val="C00000"/>
              </a:buClr>
            </a:pPr>
            <a:r>
              <a:rPr lang="en-GB" sz="1700" dirty="0">
                <a:hlinkClick r:id="rId7">
                  <a:extLst>
                    <a:ext uri="{A12FA001-AC4F-418D-AE19-62706E023703}">
                      <ahyp:hlinkClr xmlns:ahyp="http://schemas.microsoft.com/office/drawing/2018/hyperlinkcolor" val="tx"/>
                    </a:ext>
                  </a:extLst>
                </a:hlinkClick>
              </a:rPr>
              <a:t>Automation: The Answer to Efficiency Demands</a:t>
            </a:r>
            <a:endParaRPr lang="en-GB" sz="1700" dirty="0"/>
          </a:p>
          <a:p>
            <a:pPr lvl="1">
              <a:buClr>
                <a:srgbClr val="C00000"/>
              </a:buClr>
            </a:pPr>
            <a:endParaRPr lang="en-GB" sz="100" dirty="0"/>
          </a:p>
          <a:p>
            <a:pPr marL="228600" lvl="1">
              <a:lnSpc>
                <a:spcPct val="120000"/>
              </a:lnSpc>
              <a:spcBef>
                <a:spcPts val="1000"/>
              </a:spcBef>
              <a:buClr>
                <a:srgbClr val="C00000"/>
              </a:buClr>
            </a:pPr>
            <a:r>
              <a:rPr lang="en-GB" sz="1700" b="1" dirty="0">
                <a:solidFill>
                  <a:srgbClr val="C00000"/>
                </a:solidFill>
              </a:rPr>
              <a:t>Social Posts</a:t>
            </a:r>
          </a:p>
          <a:p>
            <a:pPr marL="457200" lvl="2" indent="0">
              <a:lnSpc>
                <a:spcPct val="120000"/>
              </a:lnSpc>
              <a:spcBef>
                <a:spcPts val="1000"/>
              </a:spcBef>
              <a:buClr>
                <a:srgbClr val="C00000"/>
              </a:buClr>
              <a:buNone/>
            </a:pPr>
            <a:r>
              <a:rPr lang="en-GB" sz="1700" dirty="0">
                <a:solidFill>
                  <a:srgbClr val="C00000"/>
                </a:solidFill>
              </a:rPr>
              <a:t>LinkedIn</a:t>
            </a:r>
          </a:p>
          <a:p>
            <a:pPr lvl="1">
              <a:buClr>
                <a:srgbClr val="C00000"/>
              </a:buClr>
            </a:pPr>
            <a:r>
              <a:rPr lang="en-GB" sz="1700" dirty="0">
                <a:hlinkClick r:id="rId8">
                  <a:extLst>
                    <a:ext uri="{A12FA001-AC4F-418D-AE19-62706E023703}">
                      <ahyp:hlinkClr xmlns:ahyp="http://schemas.microsoft.com/office/drawing/2018/hyperlinkcolor" val="tx"/>
                    </a:ext>
                  </a:extLst>
                </a:hlinkClick>
              </a:rPr>
              <a:t>Eggplant chosen test Orion's cockpit display simulation software</a:t>
            </a:r>
            <a:endParaRPr lang="en-GB" sz="1700" dirty="0"/>
          </a:p>
          <a:p>
            <a:pPr lvl="1">
              <a:buClr>
                <a:srgbClr val="C00000"/>
              </a:buClr>
            </a:pPr>
            <a:r>
              <a:rPr lang="en-GB" sz="1700" dirty="0">
                <a:hlinkClick r:id="rId9">
                  <a:extLst>
                    <a:ext uri="{A12FA001-AC4F-418D-AE19-62706E023703}">
                      <ahyp:hlinkClr xmlns:ahyp="http://schemas.microsoft.com/office/drawing/2018/hyperlinkcolor" val="tx"/>
                    </a:ext>
                  </a:extLst>
                </a:hlinkClick>
              </a:rPr>
              <a:t>Speed of release is a critical driver in regulated environments</a:t>
            </a:r>
            <a:endParaRPr lang="en-GB" sz="1700" dirty="0"/>
          </a:p>
          <a:p>
            <a:pPr lvl="1">
              <a:buClr>
                <a:srgbClr val="C00000"/>
              </a:buClr>
            </a:pPr>
            <a:r>
              <a:rPr lang="en-GB" sz="1700" dirty="0">
                <a:hlinkClick r:id="rId10">
                  <a:extLst>
                    <a:ext uri="{A12FA001-AC4F-418D-AE19-62706E023703}">
                      <ahyp:hlinkClr xmlns:ahyp="http://schemas.microsoft.com/office/drawing/2018/hyperlinkcolor" val="tx"/>
                    </a:ext>
                  </a:extLst>
                </a:hlinkClick>
              </a:rPr>
              <a:t>The latest DAI 5.1 enhancements</a:t>
            </a:r>
            <a:endParaRPr lang="en-GB" sz="1700" dirty="0"/>
          </a:p>
          <a:p>
            <a:pPr marL="457200" lvl="1" indent="0">
              <a:buClr>
                <a:srgbClr val="C00000"/>
              </a:buClr>
              <a:buNone/>
            </a:pPr>
            <a:endParaRPr lang="en-GB" sz="1000" dirty="0"/>
          </a:p>
          <a:p>
            <a:pPr marL="457200" lvl="1" indent="0">
              <a:buClr>
                <a:srgbClr val="C00000"/>
              </a:buClr>
              <a:buNone/>
            </a:pPr>
            <a:r>
              <a:rPr lang="en-GB" sz="1700" dirty="0">
                <a:solidFill>
                  <a:srgbClr val="C00000"/>
                </a:solidFill>
              </a:rPr>
              <a:t>Twitter</a:t>
            </a:r>
          </a:p>
          <a:p>
            <a:pPr lvl="1">
              <a:buClr>
                <a:srgbClr val="C00000"/>
              </a:buClr>
            </a:pPr>
            <a:r>
              <a:rPr lang="en-GB" sz="1700" dirty="0">
                <a:hlinkClick r:id="rId11">
                  <a:extLst>
                    <a:ext uri="{A12FA001-AC4F-418D-AE19-62706E023703}">
                      <ahyp:hlinkClr xmlns:ahyp="http://schemas.microsoft.com/office/drawing/2018/hyperlinkcolor" val="tx"/>
                    </a:ext>
                  </a:extLst>
                </a:hlinkClick>
              </a:rPr>
              <a:t>Eggplant chosen test Orion's cockpit display simulation software  </a:t>
            </a:r>
            <a:endParaRPr lang="en-GB" sz="1700" dirty="0"/>
          </a:p>
          <a:p>
            <a:pPr lvl="1">
              <a:buClr>
                <a:srgbClr val="C00000"/>
              </a:buClr>
            </a:pPr>
            <a:r>
              <a:rPr lang="en-GB" sz="1700" dirty="0">
                <a:hlinkClick r:id="rId12">
                  <a:extLst>
                    <a:ext uri="{A12FA001-AC4F-418D-AE19-62706E023703}">
                      <ahyp:hlinkClr xmlns:ahyp="http://schemas.microsoft.com/office/drawing/2018/hyperlinkcolor" val="tx"/>
                    </a:ext>
                  </a:extLst>
                </a:hlinkClick>
              </a:rPr>
              <a:t>Become digital-first with Hyperautomation</a:t>
            </a:r>
            <a:endParaRPr lang="en-GB" sz="1700" dirty="0"/>
          </a:p>
          <a:p>
            <a:pPr lvl="1">
              <a:buClr>
                <a:srgbClr val="C00000"/>
              </a:buClr>
            </a:pPr>
            <a:r>
              <a:rPr lang="en-GB" sz="1700" dirty="0">
                <a:hlinkClick r:id="rId13">
                  <a:extLst>
                    <a:ext uri="{A12FA001-AC4F-418D-AE19-62706E023703}">
                      <ahyp:hlinkClr xmlns:ahyp="http://schemas.microsoft.com/office/drawing/2018/hyperlinkcolor" val="tx"/>
                    </a:ext>
                  </a:extLst>
                </a:hlinkClick>
              </a:rPr>
              <a:t>Speed of release is a critical driver in regulated environments</a:t>
            </a:r>
            <a:endParaRPr lang="en-GB" sz="1700" dirty="0"/>
          </a:p>
        </p:txBody>
      </p:sp>
      <p:sp>
        <p:nvSpPr>
          <p:cNvPr id="6" name="Content Placeholder 5">
            <a:extLst>
              <a:ext uri="{FF2B5EF4-FFF2-40B4-BE49-F238E27FC236}">
                <a16:creationId xmlns:a16="http://schemas.microsoft.com/office/drawing/2014/main" id="{0592B8D8-B368-CB4E-95A3-457FE32E8902}"/>
              </a:ext>
            </a:extLst>
          </p:cNvPr>
          <p:cNvSpPr>
            <a:spLocks noGrp="1"/>
          </p:cNvSpPr>
          <p:nvPr>
            <p:ph sz="quarter" idx="14"/>
          </p:nvPr>
        </p:nvSpPr>
        <p:spPr>
          <a:xfrm>
            <a:off x="449579" y="1802869"/>
            <a:ext cx="2322195" cy="4479059"/>
          </a:xfrm>
        </p:spPr>
        <p:txBody>
          <a:bodyPr/>
          <a:lstStyle/>
          <a:p>
            <a:pPr marL="0" indent="0">
              <a:buNone/>
            </a:pPr>
            <a:r>
              <a:rPr lang="en-GB" sz="1700" dirty="0">
                <a:solidFill>
                  <a:srgbClr val="524F56"/>
                </a:solidFill>
              </a:rPr>
              <a:t>Please navigate to an array of Eggplant’s assets at your disposal.</a:t>
            </a:r>
          </a:p>
          <a:p>
            <a:pPr marL="0" indent="0">
              <a:buNone/>
            </a:pPr>
            <a:endParaRPr lang="en-GB" sz="1700" dirty="0">
              <a:solidFill>
                <a:srgbClr val="524F56"/>
              </a:solidFill>
            </a:endParaRPr>
          </a:p>
          <a:p>
            <a:pPr marL="0" indent="0">
              <a:buNone/>
            </a:pPr>
            <a:r>
              <a:rPr lang="en-GB" sz="1700" b="1" dirty="0">
                <a:solidFill>
                  <a:srgbClr val="524F56"/>
                </a:solidFill>
              </a:rPr>
              <a:t>Please note</a:t>
            </a:r>
            <a:r>
              <a:rPr lang="en-GB" sz="1700" dirty="0">
                <a:solidFill>
                  <a:srgbClr val="524F56"/>
                </a:solidFill>
              </a:rPr>
              <a:t>: Content will be co-branded at partner’s request.</a:t>
            </a:r>
          </a:p>
          <a:p>
            <a:endParaRPr lang="en-US" dirty="0">
              <a:solidFill>
                <a:srgbClr val="524F56"/>
              </a:solidFill>
            </a:endParaRPr>
          </a:p>
        </p:txBody>
      </p:sp>
    </p:spTree>
    <p:extLst>
      <p:ext uri="{BB962C8B-B14F-4D97-AF65-F5344CB8AC3E}">
        <p14:creationId xmlns:p14="http://schemas.microsoft.com/office/powerpoint/2010/main" val="199630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SP_AGENDA" val="SectionNumber SlideNumber"/>
  <p:tag name="EE4P_STYLE_ID" val="39dcc26a-7131-49f4-a9eb-1c0521500c03"/>
</p:tagLst>
</file>

<file path=ppt/theme/theme1.xml><?xml version="1.0" encoding="utf-8"?>
<a:theme xmlns:a="http://schemas.openxmlformats.org/drawingml/2006/main" name="2017 Keysight Macro LIGHT">
  <a:themeElements>
    <a:clrScheme name="Keysight Light">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E90029"/>
      </a:hlink>
      <a:folHlink>
        <a:srgbClr val="740014"/>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solidFill>
              <a:schemeClr val="tx1">
                <a:lumMod val="85000"/>
                <a:lumOff val="15000"/>
              </a:schemeClr>
            </a:solidFill>
          </a:defRPr>
        </a:defPPr>
      </a:lstStyle>
    </a:txDef>
  </a:objectDefaults>
  <a:extraClrSchemeLst/>
  <a:extLst>
    <a:ext uri="{05A4C25C-085E-4340-85A3-A5531E510DB2}">
      <thm15:themeFamily xmlns:thm15="http://schemas.microsoft.com/office/thememl/2012/main" name="Keysight_Widescreen_April_2019" id="{D155A26F-632A-4EBA-95F0-FB71A7C46951}" vid="{BC602805-3742-4FBE-BD69-002A98040FFB}"/>
    </a:ext>
  </a:extLst>
</a:theme>
</file>

<file path=ppt/theme/theme2.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2017 Keysight MACRO">
      <a:dk1>
        <a:sysClr val="windowText" lastClr="000000"/>
      </a:dk1>
      <a:lt1>
        <a:srgbClr val="FFFFFF"/>
      </a:lt1>
      <a:dk2>
        <a:srgbClr val="A4A1A9"/>
      </a:dk2>
      <a:lt2>
        <a:srgbClr val="FFA623"/>
      </a:lt2>
      <a:accent1>
        <a:srgbClr val="E90029"/>
      </a:accent1>
      <a:accent2>
        <a:srgbClr val="E76C27"/>
      </a:accent2>
      <a:accent3>
        <a:srgbClr val="8D3785"/>
      </a:accent3>
      <a:accent4>
        <a:srgbClr val="5B348A"/>
      </a:accent4>
      <a:accent5>
        <a:srgbClr val="225792"/>
      </a:accent5>
      <a:accent6>
        <a:srgbClr val="07858B"/>
      </a:accent6>
      <a:hlink>
        <a:srgbClr val="FFA623"/>
      </a:hlink>
      <a:folHlink>
        <a:srgbClr val="A4A1A9"/>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lumMod val="75000"/>
            <a:lumOff val="25000"/>
          </a:schemeClr>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tx1">
              <a:lumMod val="75000"/>
              <a:lumOff val="25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C2E6571777A5A4A91B0624D58AE93E5" ma:contentTypeVersion="40" ma:contentTypeDescription="Create a new document." ma:contentTypeScope="" ma:versionID="b19f1f72c75fac75dc9160ab0976da2b">
  <xsd:schema xmlns:xsd="http://www.w3.org/2001/XMLSchema" xmlns:xs="http://www.w3.org/2001/XMLSchema" xmlns:p="http://schemas.microsoft.com/office/2006/metadata/properties" xmlns:ns2="97a98a3e-7b38-49a8-b8bd-b0e7f1391fb5" xmlns:ns3="2bb9f923-a8fb-46eb-bda1-4b4eda1e5fc7" targetNamespace="http://schemas.microsoft.com/office/2006/metadata/properties" ma:root="true" ma:fieldsID="c95ff004b20dc430764f7329660ef3f7" ns2:_="" ns3:_="">
    <xsd:import namespace="97a98a3e-7b38-49a8-b8bd-b0e7f1391fb5"/>
    <xsd:import namespace="2bb9f923-a8fb-46eb-bda1-4b4eda1e5fc7"/>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3:SharedWithUsers" minOccurs="0"/>
                <xsd:element ref="ns3:SharedWithDetails" minOccurs="0"/>
                <xsd:element ref="ns2:MediaServiceGenerationTime" minOccurs="0"/>
                <xsd:element ref="ns2:MediaServiceEventHashCode" minOccurs="0"/>
                <xsd:element ref="ns2:MediaServiceLocation" minOccurs="0"/>
                <xsd:element ref="ns2:MediaServiceAutoKeyPoints" minOccurs="0"/>
                <xsd:element ref="ns2:MediaServiceKeyPoints" minOccurs="0"/>
                <xsd:element ref="ns3:TaxKeywordTaxHTField"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a98a3e-7b38-49a8-b8bd-b0e7f1391fb5" elementFormDefault="qualified">
    <xsd:import namespace="http://schemas.microsoft.com/office/2006/documentManagement/types"/>
    <xsd:import namespace="http://schemas.microsoft.com/office/infopath/2007/PartnerControls"/>
    <xsd:element name="MediaServiceMetadata" ma:index="5" nillable="true" ma:displayName="MediaServiceMetadata" ma:hidden="true" ma:internalName="MediaServiceMetadata" ma:readOnly="true">
      <xsd:simpleType>
        <xsd:restriction base="dms:Note"/>
      </xsd:simpleType>
    </xsd:element>
    <xsd:element name="MediaServiceFastMetadata" ma:index="6" nillable="true" ma:displayName="MediaServiceFastMetadata" ma:hidden="true" ma:internalName="MediaServiceFastMetadata" ma:readOnly="true">
      <xsd:simpleType>
        <xsd:restriction base="dms:Note"/>
      </xsd:simpleType>
    </xsd:element>
    <xsd:element name="MediaServiceDateTaken" ma:index="7" nillable="true" ma:displayName="MediaServiceDateTaken" ma:hidden="true" ma:internalName="MediaServiceDateTaken" ma:readOnly="true">
      <xsd:simpleType>
        <xsd:restriction base="dms:Text"/>
      </xsd:simpleType>
    </xsd:element>
    <xsd:element name="MediaServiceAutoTags" ma:index="8" nillable="true" ma:displayName="Tags" ma:description="" ma:hidden="true" ma:internalName="MediaServiceAutoTags" ma:readOnly="true">
      <xsd:simpleType>
        <xsd:restriction base="dms:Text"/>
      </xsd:simpleType>
    </xsd:element>
    <xsd:element name="MediaServiceOCR" ma:index="9" nillable="true" ma:displayName="Extracted Text" ma:description="" ma:hidden="true" ma:internalName="MediaServiceOCR" ma:readOnly="true">
      <xsd:simpleType>
        <xsd:restriction base="dms:Note"/>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Location" ma:index="14" nillable="true" ma:displayName="Location" ma:description="" ma:hidden="true" ma:internalName="MediaServiceLocatio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description="" ma:hidden="true" ma:internalName="MediaServiceKeyPoint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bb9f923-a8fb-46eb-bda1-4b4eda1e5fc7" elementFormDefault="qualified">
    <xsd:import namespace="http://schemas.microsoft.com/office/2006/documentManagement/types"/>
    <xsd:import namespace="http://schemas.microsoft.com/office/infopath/2007/PartnerControls"/>
    <xsd:element name="SharedWithUsers" ma:index="10" nillable="true" ma:displayName="Shared With" ma:description="" ma:hidden="true"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description="" ma:hidden="true" ma:internalName="SharedWithDetails" ma:readOnly="true">
      <xsd:simpleType>
        <xsd:restriction base="dms:Note"/>
      </xsd:simpleType>
    </xsd:element>
    <xsd:element name="TaxKeywordTaxHTField" ma:index="18" nillable="true" ma:taxonomy="true" ma:internalName="TaxKeywordTaxHTField" ma:taxonomyFieldName="TaxKeyword" ma:displayName="Enterprise Keywords" ma:fieldId="{23f27201-bee3-471e-b2e7-b64fd8b7ca38}" ma:taxonomyMulti="true" ma:sspId="71b4e610-9c4a-4944-b620-b446fb4a28fe" ma:termSetId="00000000-0000-0000-0000-000000000000" ma:anchorId="00000000-0000-0000-0000-000000000000" ma:open="true" ma:isKeyword="true">
      <xsd:complexType>
        <xsd:sequence>
          <xsd:element ref="pc:Terms" minOccurs="0" maxOccurs="1"/>
        </xsd:sequence>
      </xsd:complexType>
    </xsd:element>
    <xsd:element name="TaxCatchAll" ma:index="19" nillable="true" ma:displayName="Taxonomy Catch All Column" ma:hidden="true" ma:list="{91549c16-9c6d-4b6b-a2f7-061514a954bf}" ma:internalName="TaxCatchAll" ma:showField="CatchAllData" ma:web="2bb9f923-a8fb-46eb-bda1-4b4eda1e5fc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2bb9f923-a8fb-46eb-bda1-4b4eda1e5fc7"/>
    <TaxKeywordTaxHTField xmlns="2bb9f923-a8fb-46eb-bda1-4b4eda1e5fc7">
      <Terms xmlns="http://schemas.microsoft.com/office/infopath/2007/PartnerControls"/>
    </TaxKeywordTaxHTField>
  </documentManagement>
</p:properties>
</file>

<file path=customXml/itemProps1.xml><?xml version="1.0" encoding="utf-8"?>
<ds:datastoreItem xmlns:ds="http://schemas.openxmlformats.org/officeDocument/2006/customXml" ds:itemID="{B24C61C5-4B44-40D0-B80A-53165299EBAA}">
  <ds:schemaRefs>
    <ds:schemaRef ds:uri="http://schemas.microsoft.com/sharepoint/v3/contenttype/forms"/>
  </ds:schemaRefs>
</ds:datastoreItem>
</file>

<file path=customXml/itemProps2.xml><?xml version="1.0" encoding="utf-8"?>
<ds:datastoreItem xmlns:ds="http://schemas.openxmlformats.org/officeDocument/2006/customXml" ds:itemID="{75472D3D-F8E5-40EF-B4C4-58E760AD95F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7a98a3e-7b38-49a8-b8bd-b0e7f1391fb5"/>
    <ds:schemaRef ds:uri="2bb9f923-a8fb-46eb-bda1-4b4eda1e5f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EF557FDC-6B69-4AF4-9507-5607DAB1E8F5}">
  <ds:schemaRefs>
    <ds:schemaRef ds:uri="97a98a3e-7b38-49a8-b8bd-b0e7f1391fb5"/>
    <ds:schemaRef ds:uri="http://schemas.microsoft.com/office/2006/metadata/properties"/>
    <ds:schemaRef ds:uri="http://www.w3.org/XML/1998/namespace"/>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2bb9f923-a8fb-46eb-bda1-4b4eda1e5fc7"/>
  </ds:schemaRefs>
</ds:datastoreItem>
</file>

<file path=docProps/app.xml><?xml version="1.0" encoding="utf-8"?>
<Properties xmlns="http://schemas.openxmlformats.org/officeDocument/2006/extended-properties" xmlns:vt="http://schemas.openxmlformats.org/officeDocument/2006/docPropsVTypes">
  <Template>2017 Keysight Macro LIGHT</Template>
  <TotalTime>8006</TotalTime>
  <Words>1108</Words>
  <Application>Microsoft Macintosh PowerPoint</Application>
  <PresentationFormat>Widescreen</PresentationFormat>
  <Paragraphs>128</Paragraphs>
  <Slides>12</Slides>
  <Notes>10</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12</vt:i4>
      </vt:variant>
    </vt:vector>
  </HeadingPairs>
  <TitlesOfParts>
    <vt:vector size="17" baseType="lpstr">
      <vt:lpstr>Arial</vt:lpstr>
      <vt:lpstr>Calibri</vt:lpstr>
      <vt:lpstr>Franklin Gothic Book</vt:lpstr>
      <vt:lpstr>Montserrat</vt:lpstr>
      <vt:lpstr>2017 Keysight Macro LIGHT</vt:lpstr>
      <vt:lpstr>Campaign in a Box  Defense &amp; Aerospace</vt:lpstr>
      <vt:lpstr>PowerPoint Presentation</vt:lpstr>
      <vt:lpstr>Keysight’s Eggplant suite is the automation standard for defense and aerospace and used by organizations globally​.</vt:lpstr>
      <vt:lpstr>Why now?</vt:lpstr>
      <vt:lpstr>Elevator pitch</vt:lpstr>
      <vt:lpstr>Elevator pitch</vt:lpstr>
      <vt:lpstr>Elevator pitch</vt:lpstr>
      <vt:lpstr>Elevator pitch</vt:lpstr>
      <vt:lpstr>Assets</vt:lpstr>
      <vt:lpstr>Assets</vt:lpstr>
      <vt:lpstr>Call to Ac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mpaign in a Box  Financial Services</dc:title>
  <dc:creator>Natalia Francois</dc:creator>
  <cp:lastModifiedBy>Natalia Francois</cp:lastModifiedBy>
  <cp:revision>40</cp:revision>
  <dcterms:created xsi:type="dcterms:W3CDTF">2021-03-01T11:46:38Z</dcterms:created>
  <dcterms:modified xsi:type="dcterms:W3CDTF">2021-03-09T13:57: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2E6571777A5A4A91B0624D58AE93E5</vt:lpwstr>
  </property>
</Properties>
</file>